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0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1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2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7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9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21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1"/>
  </p:notesMasterIdLst>
  <p:sldIdLst>
    <p:sldId id="1188" r:id="rId2"/>
    <p:sldId id="1179" r:id="rId3"/>
    <p:sldId id="1243" r:id="rId4"/>
    <p:sldId id="1181" r:id="rId5"/>
    <p:sldId id="1192" r:id="rId6"/>
    <p:sldId id="1209" r:id="rId7"/>
    <p:sldId id="1180" r:id="rId8"/>
    <p:sldId id="1231" r:id="rId9"/>
    <p:sldId id="1236" r:id="rId10"/>
    <p:sldId id="1239" r:id="rId11"/>
    <p:sldId id="1240" r:id="rId12"/>
    <p:sldId id="1241" r:id="rId13"/>
    <p:sldId id="1242" r:id="rId14"/>
    <p:sldId id="1184" r:id="rId15"/>
    <p:sldId id="1207" r:id="rId16"/>
    <p:sldId id="1208" r:id="rId17"/>
    <p:sldId id="1193" r:id="rId18"/>
    <p:sldId id="1201" r:id="rId19"/>
    <p:sldId id="1185" r:id="rId20"/>
    <p:sldId id="1253" r:id="rId21"/>
    <p:sldId id="1254" r:id="rId22"/>
    <p:sldId id="1257" r:id="rId23"/>
    <p:sldId id="1255" r:id="rId24"/>
    <p:sldId id="1258" r:id="rId25"/>
    <p:sldId id="1262" r:id="rId26"/>
    <p:sldId id="1263" r:id="rId27"/>
    <p:sldId id="1264" r:id="rId28"/>
    <p:sldId id="1259" r:id="rId29"/>
    <p:sldId id="1265" r:id="rId30"/>
  </p:sldIdLst>
  <p:sldSz cx="12192000" cy="6858000"/>
  <p:notesSz cx="6858000" cy="9144000"/>
  <p:custDataLst>
    <p:tags r:id="rId32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ájek Ondřej RNDr. Ph.D." initials="MORP" lastIdx="1" clrIdx="0">
    <p:extLst>
      <p:ext uri="{19B8F6BF-5375-455C-9EA6-DF929625EA0E}">
        <p15:presenceInfo xmlns:p15="http://schemas.microsoft.com/office/powerpoint/2012/main" userId="S::majeko@mzcr.cz::9d61c4b0-e3bf-4878-8005-e21f10a403b2" providerId="AD"/>
      </p:ext>
    </p:extLst>
  </p:cmAuthor>
  <p:cmAuthor id="2" name="Kouřil Jan Mgr." initials="KJM" lastIdx="1" clrIdx="1">
    <p:extLst>
      <p:ext uri="{19B8F6BF-5375-455C-9EA6-DF929625EA0E}">
        <p15:presenceInfo xmlns:p15="http://schemas.microsoft.com/office/powerpoint/2012/main" userId="S::kourilj@mzcr.cz::dbc45f57-da0e-49ed-8558-d54a6c5b7b8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DD1D9"/>
    <a:srgbClr val="F797B0"/>
    <a:srgbClr val="E8EAED"/>
    <a:srgbClr val="FF7C80"/>
    <a:srgbClr val="00CD61"/>
    <a:srgbClr val="00FF00"/>
    <a:srgbClr val="D31145"/>
    <a:srgbClr val="996633"/>
    <a:srgbClr val="F75A1C"/>
    <a:srgbClr val="9E0D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Světlý styl 1 – zvýraznění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Světlý styl 1 – zvýraznění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167" autoAdjust="0"/>
    <p:restoredTop sz="96327" autoAdjust="0"/>
  </p:normalViewPr>
  <p:slideViewPr>
    <p:cSldViewPr snapToGrid="0">
      <p:cViewPr varScale="1">
        <p:scale>
          <a:sx n="115" d="100"/>
          <a:sy n="115" d="100"/>
        </p:scale>
        <p:origin x="420" y="108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640230244309003E-2"/>
          <c:y val="8.1965526849870296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30.01.2022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8ED-4368-B9BE-D456B2020E7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8ED-4368-B9BE-D456B2020E7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8D9-4FAE-ACD8-8FC9D76B16F6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561-42EC-8144-BD0DFC6360C1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561-42EC-8144-BD0DFC6360C1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154-4F68-8DDF-88A5914185CF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561-42EC-8144-BD0DFC6360C1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154-4F68-8DDF-88A5914185CF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7561-42EC-8144-BD0DFC6360C1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154-4F68-8DDF-88A5914185CF}"/>
              </c:ext>
            </c:extLst>
          </c:dPt>
          <c:dPt>
            <c:idx val="2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A154-4F68-8DDF-88A5914185CF}"/>
              </c:ext>
            </c:extLst>
          </c:dPt>
          <c:cat>
            <c:strRef>
              <c:f>List1!$A$2:$A$32</c:f>
              <c:strCache>
                <c:ptCount val="31"/>
                <c:pt idx="0">
                  <c:v>Dánsko</c:v>
                </c:pt>
                <c:pt idx="1">
                  <c:v>Litva</c:v>
                </c:pt>
                <c:pt idx="2">
                  <c:v>Nizozemsko</c:v>
                </c:pt>
                <c:pt idx="3">
                  <c:v>Lotyšsko</c:v>
                </c:pt>
                <c:pt idx="4">
                  <c:v>Slovinsko</c:v>
                </c:pt>
                <c:pt idx="5">
                  <c:v>Island</c:v>
                </c:pt>
                <c:pt idx="6">
                  <c:v>Estonsko</c:v>
                </c:pt>
                <c:pt idx="7">
                  <c:v>Rakousko</c:v>
                </c:pt>
                <c:pt idx="8">
                  <c:v>Norsko</c:v>
                </c:pt>
                <c:pt idx="9">
                  <c:v>Slovensko</c:v>
                </c:pt>
                <c:pt idx="10">
                  <c:v>Portugalsko</c:v>
                </c:pt>
                <c:pt idx="11">
                  <c:v>Lichtenštejnsko</c:v>
                </c:pt>
                <c:pt idx="12">
                  <c:v>Francie</c:v>
                </c:pt>
                <c:pt idx="13">
                  <c:v>Kypr</c:v>
                </c:pt>
                <c:pt idx="14">
                  <c:v>Česká republika</c:v>
                </c:pt>
                <c:pt idx="15">
                  <c:v>Německo</c:v>
                </c:pt>
                <c:pt idx="16">
                  <c:v>Lucembursko</c:v>
                </c:pt>
                <c:pt idx="17">
                  <c:v>Švédsko</c:v>
                </c:pt>
                <c:pt idx="18">
                  <c:v>Řecko</c:v>
                </c:pt>
                <c:pt idx="19">
                  <c:v>Belgie</c:v>
                </c:pt>
                <c:pt idx="20">
                  <c:v>Chorvatsko</c:v>
                </c:pt>
                <c:pt idx="21">
                  <c:v>Rumunsko</c:v>
                </c:pt>
                <c:pt idx="22">
                  <c:v>Maďarsko</c:v>
                </c:pt>
                <c:pt idx="23">
                  <c:v>Polsko</c:v>
                </c:pt>
                <c:pt idx="24">
                  <c:v>Itálie</c:v>
                </c:pt>
                <c:pt idx="25">
                  <c:v>Irsko</c:v>
                </c:pt>
                <c:pt idx="26">
                  <c:v>Finsko</c:v>
                </c:pt>
                <c:pt idx="27">
                  <c:v>Velká Británie</c:v>
                </c:pt>
                <c:pt idx="28">
                  <c:v>Bulharsko</c:v>
                </c:pt>
                <c:pt idx="29">
                  <c:v>Španělsko</c:v>
                </c:pt>
                <c:pt idx="30">
                  <c:v>Malta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10000.046369738902</c:v>
                </c:pt>
                <c:pt idx="1">
                  <c:v>4371.6558879635231</c:v>
                </c:pt>
                <c:pt idx="2">
                  <c:v>4275.0387259346999</c:v>
                </c:pt>
                <c:pt idx="3">
                  <c:v>4465.9074527893899</c:v>
                </c:pt>
                <c:pt idx="4">
                  <c:v>8233.4181512991563</c:v>
                </c:pt>
                <c:pt idx="5">
                  <c:v>5234.8860584290396</c:v>
                </c:pt>
                <c:pt idx="6">
                  <c:v>5143.3584955635015</c:v>
                </c:pt>
                <c:pt idx="7">
                  <c:v>4525.0095943586066</c:v>
                </c:pt>
                <c:pt idx="8">
                  <c:v>4748.7135729695692</c:v>
                </c:pt>
                <c:pt idx="9">
                  <c:v>2559.3303471883646</c:v>
                </c:pt>
                <c:pt idx="10">
                  <c:v>7116.9432441564904</c:v>
                </c:pt>
                <c:pt idx="11">
                  <c:v>4291.9451828528663</c:v>
                </c:pt>
                <c:pt idx="12">
                  <c:v>7251.1636029212987</c:v>
                </c:pt>
                <c:pt idx="13">
                  <c:v>3575.5429305015173</c:v>
                </c:pt>
                <c:pt idx="14">
                  <c:v>3821.248653092186</c:v>
                </c:pt>
                <c:pt idx="15">
                  <c:v>2273.813617566288</c:v>
                </c:pt>
                <c:pt idx="16">
                  <c:v>5094.8079245114259</c:v>
                </c:pt>
                <c:pt idx="17">
                  <c:v>5048.1191689560846</c:v>
                </c:pt>
                <c:pt idx="18">
                  <c:v>2426.0337088033707</c:v>
                </c:pt>
                <c:pt idx="19">
                  <c:v>5813.0135630994828</c:v>
                </c:pt>
                <c:pt idx="20">
                  <c:v>2914.7903054705762</c:v>
                </c:pt>
                <c:pt idx="21">
                  <c:v>1513.4898435177531</c:v>
                </c:pt>
                <c:pt idx="22">
                  <c:v>2100.1325959928863</c:v>
                </c:pt>
                <c:pt idx="23">
                  <c:v>1482.2513159101745</c:v>
                </c:pt>
                <c:pt idx="24">
                  <c:v>3354.2724487356854</c:v>
                </c:pt>
                <c:pt idx="25">
                  <c:v>1523.7771027547922</c:v>
                </c:pt>
                <c:pt idx="26">
                  <c:v>1821.7679717198655</c:v>
                </c:pt>
                <c:pt idx="27">
                  <c:v>2008.6390711659235</c:v>
                </c:pt>
                <c:pt idx="28">
                  <c:v>1740.3914733577674</c:v>
                </c:pt>
                <c:pt idx="29">
                  <c:v>2941.3904754975079</c:v>
                </c:pt>
                <c:pt idx="30">
                  <c:v>593.900855870212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13.02.2022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2</c:f>
              <c:strCache>
                <c:ptCount val="31"/>
                <c:pt idx="0">
                  <c:v>Dánsko</c:v>
                </c:pt>
                <c:pt idx="1">
                  <c:v>Litva</c:v>
                </c:pt>
                <c:pt idx="2">
                  <c:v>Nizozemsko</c:v>
                </c:pt>
                <c:pt idx="3">
                  <c:v>Lotyšsko</c:v>
                </c:pt>
                <c:pt idx="4">
                  <c:v>Slovinsko</c:v>
                </c:pt>
                <c:pt idx="5">
                  <c:v>Island</c:v>
                </c:pt>
                <c:pt idx="6">
                  <c:v>Estonsko</c:v>
                </c:pt>
                <c:pt idx="7">
                  <c:v>Rakousko</c:v>
                </c:pt>
                <c:pt idx="8">
                  <c:v>Norsko</c:v>
                </c:pt>
                <c:pt idx="9">
                  <c:v>Slovensko</c:v>
                </c:pt>
                <c:pt idx="10">
                  <c:v>Portugalsko</c:v>
                </c:pt>
                <c:pt idx="11">
                  <c:v>Lichtenštejnsko</c:v>
                </c:pt>
                <c:pt idx="12">
                  <c:v>Francie</c:v>
                </c:pt>
                <c:pt idx="13">
                  <c:v>Kypr</c:v>
                </c:pt>
                <c:pt idx="14">
                  <c:v>Česká republika</c:v>
                </c:pt>
                <c:pt idx="15">
                  <c:v>Německo</c:v>
                </c:pt>
                <c:pt idx="16">
                  <c:v>Lucembursko</c:v>
                </c:pt>
                <c:pt idx="17">
                  <c:v>Švédsko</c:v>
                </c:pt>
                <c:pt idx="18">
                  <c:v>Řecko</c:v>
                </c:pt>
                <c:pt idx="19">
                  <c:v>Belgie</c:v>
                </c:pt>
                <c:pt idx="20">
                  <c:v>Chorvatsko</c:v>
                </c:pt>
                <c:pt idx="21">
                  <c:v>Rumunsko</c:v>
                </c:pt>
                <c:pt idx="22">
                  <c:v>Maďarsko</c:v>
                </c:pt>
                <c:pt idx="23">
                  <c:v>Polsko</c:v>
                </c:pt>
                <c:pt idx="24">
                  <c:v>Itálie</c:v>
                </c:pt>
                <c:pt idx="25">
                  <c:v>Irsko</c:v>
                </c:pt>
                <c:pt idx="26">
                  <c:v>Finsko</c:v>
                </c:pt>
                <c:pt idx="27">
                  <c:v>Velká Británie</c:v>
                </c:pt>
                <c:pt idx="28">
                  <c:v>Bulharsko</c:v>
                </c:pt>
                <c:pt idx="29">
                  <c:v>Španělsko</c:v>
                </c:pt>
                <c:pt idx="30">
                  <c:v>Malta</c:v>
                </c:pt>
              </c:strCache>
            </c:strRef>
          </c:cat>
          <c:val>
            <c:numRef>
              <c:f>List1!$C$2:$C$32</c:f>
              <c:numCache>
                <c:formatCode>General</c:formatCode>
                <c:ptCount val="31"/>
                <c:pt idx="0">
                  <c:v>10543.345143877572</c:v>
                </c:pt>
                <c:pt idx="1">
                  <c:v>8212.1907311503928</c:v>
                </c:pt>
                <c:pt idx="2">
                  <c:v>8182.1746095164835</c:v>
                </c:pt>
                <c:pt idx="3">
                  <c:v>6795.3398770754975</c:v>
                </c:pt>
                <c:pt idx="4">
                  <c:v>6698.2972630341419</c:v>
                </c:pt>
                <c:pt idx="5">
                  <c:v>6664.3048987460661</c:v>
                </c:pt>
                <c:pt idx="6">
                  <c:v>6469.4923008391424</c:v>
                </c:pt>
                <c:pt idx="7">
                  <c:v>4990.6617905454896</c:v>
                </c:pt>
                <c:pt idx="8">
                  <c:v>4947.7418128840181</c:v>
                </c:pt>
                <c:pt idx="9">
                  <c:v>4474.2887934548862</c:v>
                </c:pt>
                <c:pt idx="10">
                  <c:v>4408.411146602014</c:v>
                </c:pt>
                <c:pt idx="11">
                  <c:v>4253.2325083232254</c:v>
                </c:pt>
                <c:pt idx="12">
                  <c:v>4109.6124825267943</c:v>
                </c:pt>
                <c:pt idx="13">
                  <c:v>4067.2068287903785</c:v>
                </c:pt>
                <c:pt idx="14">
                  <c:v>3635.8726190601988</c:v>
                </c:pt>
                <c:pt idx="15">
                  <c:v>3050.7915600990882</c:v>
                </c:pt>
                <c:pt idx="16">
                  <c:v>2749.8450746516573</c:v>
                </c:pt>
                <c:pt idx="17">
                  <c:v>2402.9906689741429</c:v>
                </c:pt>
                <c:pt idx="18">
                  <c:v>2327.3451250237322</c:v>
                </c:pt>
                <c:pt idx="19">
                  <c:v>2240.5237085200706</c:v>
                </c:pt>
                <c:pt idx="20">
                  <c:v>2025.3735370543091</c:v>
                </c:pt>
                <c:pt idx="21">
                  <c:v>1747.1303758663607</c:v>
                </c:pt>
                <c:pt idx="22">
                  <c:v>1675.3320478393732</c:v>
                </c:pt>
                <c:pt idx="23">
                  <c:v>1483.9163080127903</c:v>
                </c:pt>
                <c:pt idx="24">
                  <c:v>1473.1607635275632</c:v>
                </c:pt>
                <c:pt idx="25">
                  <c:v>1469.2694442877746</c:v>
                </c:pt>
                <c:pt idx="26">
                  <c:v>1443.1092510585866</c:v>
                </c:pt>
                <c:pt idx="27">
                  <c:v>1429.553274299127</c:v>
                </c:pt>
                <c:pt idx="28">
                  <c:v>1382.050618846456</c:v>
                </c:pt>
                <c:pt idx="29">
                  <c:v>1239.291368949114</c:v>
                </c:pt>
                <c:pt idx="30">
                  <c:v>398.784213431176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C138-4612-AF06-5399DE4C08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2064"/>
        <c:axId val="354362456"/>
      </c:barChart>
      <c:catAx>
        <c:axId val="354362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456"/>
        <c:crosses val="autoZero"/>
        <c:auto val="1"/>
        <c:lblAlgn val="ctr"/>
        <c:lblOffset val="100"/>
        <c:noMultiLvlLbl val="0"/>
      </c:catAx>
      <c:valAx>
        <c:axId val="354362456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0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F9A-47BA-ACF0-8C3946271496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78C7-4F71-B6A6-584BFB277F2C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EDBA-4548-9ED7-7A1AACB2C2AF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EDBA-4548-9ED7-7A1AACB2C2AF}"/>
              </c:ext>
            </c:extLst>
          </c:dPt>
          <c:cat>
            <c:strRef>
              <c:f>List1!$A$2:$A$31</c:f>
              <c:strCache>
                <c:ptCount val="30"/>
                <c:pt idx="0">
                  <c:v>Bulharsko</c:v>
                </c:pt>
                <c:pt idx="1">
                  <c:v>Maďarsko</c:v>
                </c:pt>
                <c:pt idx="2">
                  <c:v>Rumunsko</c:v>
                </c:pt>
                <c:pt idx="3">
                  <c:v>Polsko</c:v>
                </c:pt>
                <c:pt idx="4">
                  <c:v>Chorvatsko</c:v>
                </c:pt>
                <c:pt idx="5">
                  <c:v>Itálie</c:v>
                </c:pt>
                <c:pt idx="6">
                  <c:v>Řecko</c:v>
                </c:pt>
                <c:pt idx="7">
                  <c:v>Česká republika</c:v>
                </c:pt>
                <c:pt idx="8">
                  <c:v>Slovensko</c:v>
                </c:pt>
                <c:pt idx="9">
                  <c:v>Lotyšsko</c:v>
                </c:pt>
                <c:pt idx="10">
                  <c:v>Německo</c:v>
                </c:pt>
                <c:pt idx="11">
                  <c:v>Španělsko</c:v>
                </c:pt>
                <c:pt idx="12">
                  <c:v>Litva</c:v>
                </c:pt>
                <c:pt idx="13">
                  <c:v>Belgie</c:v>
                </c:pt>
                <c:pt idx="14">
                  <c:v>Slovinsko</c:v>
                </c:pt>
                <c:pt idx="15">
                  <c:v>Lichtenštejnsko</c:v>
                </c:pt>
                <c:pt idx="16">
                  <c:v>Švédsko</c:v>
                </c:pt>
                <c:pt idx="17">
                  <c:v>Portugalsko</c:v>
                </c:pt>
                <c:pt idx="18">
                  <c:v>Francie</c:v>
                </c:pt>
                <c:pt idx="19">
                  <c:v>Rakousko</c:v>
                </c:pt>
                <c:pt idx="20">
                  <c:v>Lucembursko</c:v>
                </c:pt>
                <c:pt idx="21">
                  <c:v>Malta</c:v>
                </c:pt>
                <c:pt idx="22">
                  <c:v>Irsko</c:v>
                </c:pt>
                <c:pt idx="23">
                  <c:v>Estonsko</c:v>
                </c:pt>
                <c:pt idx="24">
                  <c:v>Finsko</c:v>
                </c:pt>
                <c:pt idx="25">
                  <c:v>Nizozemsko</c:v>
                </c:pt>
                <c:pt idx="26">
                  <c:v>Kypr</c:v>
                </c:pt>
                <c:pt idx="27">
                  <c:v>Dánsko</c:v>
                </c:pt>
                <c:pt idx="28">
                  <c:v>Norsko</c:v>
                </c:pt>
                <c:pt idx="29">
                  <c:v>Island</c:v>
                </c:pt>
              </c:strCache>
            </c:strRef>
          </c:cat>
          <c:val>
            <c:numRef>
              <c:f>List1!$B$2:$B$31</c:f>
              <c:numCache>
                <c:formatCode>0.00%</c:formatCode>
                <c:ptCount val="30"/>
                <c:pt idx="0">
                  <c:v>3.3187962734899087E-2</c:v>
                </c:pt>
                <c:pt idx="1">
                  <c:v>2.4163833974025609E-2</c:v>
                </c:pt>
                <c:pt idx="2">
                  <c:v>2.3434065378640092E-2</c:v>
                </c:pt>
                <c:pt idx="3">
                  <c:v>2.001287547314597E-2</c:v>
                </c:pt>
                <c:pt idx="4">
                  <c:v>1.4218377299323711E-2</c:v>
                </c:pt>
                <c:pt idx="5">
                  <c:v>1.2828022861173636E-2</c:v>
                </c:pt>
                <c:pt idx="6">
                  <c:v>1.1371560788985361E-2</c:v>
                </c:pt>
                <c:pt idx="7">
                  <c:v>1.1148543069078868E-2</c:v>
                </c:pt>
                <c:pt idx="8">
                  <c:v>1.0919908008595998E-2</c:v>
                </c:pt>
                <c:pt idx="9">
                  <c:v>1.0481662874551694E-2</c:v>
                </c:pt>
                <c:pt idx="10">
                  <c:v>9.6349120931491852E-3</c:v>
                </c:pt>
                <c:pt idx="11">
                  <c:v>9.151844590913772E-3</c:v>
                </c:pt>
                <c:pt idx="12">
                  <c:v>8.7468707979837506E-3</c:v>
                </c:pt>
                <c:pt idx="13">
                  <c:v>8.706711703031755E-3</c:v>
                </c:pt>
                <c:pt idx="14">
                  <c:v>7.1422195495503956E-3</c:v>
                </c:pt>
                <c:pt idx="15">
                  <c:v>6.9956513518623555E-3</c:v>
                </c:pt>
                <c:pt idx="16">
                  <c:v>6.7306833500541084E-3</c:v>
                </c:pt>
                <c:pt idx="17">
                  <c:v>6.6472202181001956E-3</c:v>
                </c:pt>
                <c:pt idx="18">
                  <c:v>6.4117546004196216E-3</c:v>
                </c:pt>
                <c:pt idx="19">
                  <c:v>5.992905400126057E-3</c:v>
                </c:pt>
                <c:pt idx="20">
                  <c:v>5.5392205446716664E-3</c:v>
                </c:pt>
                <c:pt idx="21">
                  <c:v>5.1844259251006431E-3</c:v>
                </c:pt>
                <c:pt idx="22">
                  <c:v>5.062791715518866E-3</c:v>
                </c:pt>
                <c:pt idx="23">
                  <c:v>4.9137342176585946E-3</c:v>
                </c:pt>
                <c:pt idx="24">
                  <c:v>4.8766637700362221E-3</c:v>
                </c:pt>
                <c:pt idx="25">
                  <c:v>3.733631791360261E-3</c:v>
                </c:pt>
                <c:pt idx="26">
                  <c:v>3.1155976329729487E-3</c:v>
                </c:pt>
                <c:pt idx="27">
                  <c:v>1.5969142099471192E-3</c:v>
                </c:pt>
                <c:pt idx="28">
                  <c:v>1.4495252876536469E-3</c:v>
                </c:pt>
                <c:pt idx="29">
                  <c:v>5.8854944360279453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01590432"/>
        <c:axId val="401589256"/>
      </c:barChart>
      <c:catAx>
        <c:axId val="4015904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89256"/>
        <c:crosses val="autoZero"/>
        <c:auto val="1"/>
        <c:lblAlgn val="ctr"/>
        <c:lblOffset val="100"/>
        <c:noMultiLvlLbl val="0"/>
      </c:catAx>
      <c:valAx>
        <c:axId val="401589256"/>
        <c:scaling>
          <c:orientation val="minMax"/>
        </c:scaling>
        <c:delete val="0"/>
        <c:axPos val="l"/>
        <c:numFmt formatCode="0.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90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Portugalsko</c:v>
                </c:pt>
                <c:pt idx="1">
                  <c:v>Irsko</c:v>
                </c:pt>
                <c:pt idx="2">
                  <c:v>Malta</c:v>
                </c:pt>
                <c:pt idx="3">
                  <c:v>Norsko</c:v>
                </c:pt>
                <c:pt idx="4">
                  <c:v>Francie</c:v>
                </c:pt>
                <c:pt idx="5">
                  <c:v>Španělsko</c:v>
                </c:pt>
                <c:pt idx="6">
                  <c:v>Island</c:v>
                </c:pt>
                <c:pt idx="7">
                  <c:v>Dánsko</c:v>
                </c:pt>
                <c:pt idx="8">
                  <c:v>Itálie</c:v>
                </c:pt>
                <c:pt idx="9">
                  <c:v>Německo</c:v>
                </c:pt>
                <c:pt idx="10">
                  <c:v>Finsko</c:v>
                </c:pt>
                <c:pt idx="11">
                  <c:v>Belgie</c:v>
                </c:pt>
                <c:pt idx="12">
                  <c:v>Nizozemsko</c:v>
                </c:pt>
                <c:pt idx="13">
                  <c:v>Švédsko</c:v>
                </c:pt>
                <c:pt idx="14">
                  <c:v>Kypr</c:v>
                </c:pt>
                <c:pt idx="15">
                  <c:v>Rakousko</c:v>
                </c:pt>
                <c:pt idx="16">
                  <c:v>Řecko</c:v>
                </c:pt>
                <c:pt idx="17">
                  <c:v>Lucembursko</c:v>
                </c:pt>
                <c:pt idx="18">
                  <c:v>Litva</c:v>
                </c:pt>
                <c:pt idx="19">
                  <c:v>Lichtenštejnsko</c:v>
                </c:pt>
                <c:pt idx="20">
                  <c:v>Lotyšsko</c:v>
                </c:pt>
                <c:pt idx="21">
                  <c:v>Česká republika</c:v>
                </c:pt>
                <c:pt idx="22">
                  <c:v>Estonsko</c:v>
                </c:pt>
                <c:pt idx="23">
                  <c:v>Maďarsko</c:v>
                </c:pt>
                <c:pt idx="24">
                  <c:v>Slovinsko</c:v>
                </c:pt>
                <c:pt idx="25">
                  <c:v>Chorvatsko</c:v>
                </c:pt>
                <c:pt idx="26">
                  <c:v>Polsko</c:v>
                </c:pt>
                <c:pt idx="27">
                  <c:v>Sloven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1</c:v>
                </c:pt>
                <c:pt idx="1">
                  <c:v>0.95299999999999996</c:v>
                </c:pt>
                <c:pt idx="2">
                  <c:v>0.94699999999999995</c:v>
                </c:pt>
                <c:pt idx="3">
                  <c:v>0.93799999999999994</c:v>
                </c:pt>
                <c:pt idx="4">
                  <c:v>0.93700000000000006</c:v>
                </c:pt>
                <c:pt idx="5">
                  <c:v>0.93300000000000005</c:v>
                </c:pt>
                <c:pt idx="6">
                  <c:v>0.93200000000000005</c:v>
                </c:pt>
                <c:pt idx="7">
                  <c:v>0.92100000000000004</c:v>
                </c:pt>
                <c:pt idx="8">
                  <c:v>0.91500000000000004</c:v>
                </c:pt>
                <c:pt idx="9">
                  <c:v>0.91100000000000003</c:v>
                </c:pt>
                <c:pt idx="10">
                  <c:v>0.90200000000000002</c:v>
                </c:pt>
                <c:pt idx="11">
                  <c:v>0.89700000000000002</c:v>
                </c:pt>
                <c:pt idx="12">
                  <c:v>0.89300000000000002</c:v>
                </c:pt>
                <c:pt idx="13">
                  <c:v>0.88900000000000001</c:v>
                </c:pt>
                <c:pt idx="14">
                  <c:v>0.86299999999999999</c:v>
                </c:pt>
                <c:pt idx="15">
                  <c:v>0.85399999999999998</c:v>
                </c:pt>
                <c:pt idx="16">
                  <c:v>0.83</c:v>
                </c:pt>
                <c:pt idx="17">
                  <c:v>0.82599999999999996</c:v>
                </c:pt>
                <c:pt idx="18">
                  <c:v>0.80800000000000005</c:v>
                </c:pt>
                <c:pt idx="19">
                  <c:v>0.79500000000000004</c:v>
                </c:pt>
                <c:pt idx="20">
                  <c:v>0.78500000000000003</c:v>
                </c:pt>
                <c:pt idx="21">
                  <c:v>0.751</c:v>
                </c:pt>
                <c:pt idx="22">
                  <c:v>0.73299999999999998</c:v>
                </c:pt>
                <c:pt idx="23">
                  <c:v>0.73099999999999998</c:v>
                </c:pt>
                <c:pt idx="24">
                  <c:v>0.70199999999999996</c:v>
                </c:pt>
                <c:pt idx="25">
                  <c:v>0.67400000000000004</c:v>
                </c:pt>
                <c:pt idx="26">
                  <c:v>0.66700000000000004</c:v>
                </c:pt>
                <c:pt idx="27">
                  <c:v>0.60799999999999998</c:v>
                </c:pt>
                <c:pt idx="28">
                  <c:v>0.502</c:v>
                </c:pt>
                <c:pt idx="29">
                  <c:v>0.354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89600"/>
        <c:axId val="359286464"/>
      </c:barChart>
      <c:catAx>
        <c:axId val="359289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464"/>
        <c:crosses val="autoZero"/>
        <c:auto val="1"/>
        <c:lblAlgn val="ctr"/>
        <c:lblOffset val="100"/>
        <c:noMultiLvlLbl val="0"/>
      </c:catAx>
      <c:valAx>
        <c:axId val="359286464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9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Irsko</c:v>
                </c:pt>
                <c:pt idx="1">
                  <c:v>Portugalsko</c:v>
                </c:pt>
                <c:pt idx="2">
                  <c:v>Malta</c:v>
                </c:pt>
                <c:pt idx="3">
                  <c:v>Island</c:v>
                </c:pt>
                <c:pt idx="4">
                  <c:v>Francie</c:v>
                </c:pt>
                <c:pt idx="5">
                  <c:v>Norsko</c:v>
                </c:pt>
                <c:pt idx="6">
                  <c:v>Dánsko</c:v>
                </c:pt>
                <c:pt idx="7">
                  <c:v>Německo</c:v>
                </c:pt>
                <c:pt idx="8">
                  <c:v>Belgie</c:v>
                </c:pt>
                <c:pt idx="9">
                  <c:v>Finsko</c:v>
                </c:pt>
                <c:pt idx="10">
                  <c:v>Švédsko</c:v>
                </c:pt>
                <c:pt idx="11">
                  <c:v>Kypr</c:v>
                </c:pt>
                <c:pt idx="12">
                  <c:v>Španělsko</c:v>
                </c:pt>
                <c:pt idx="13">
                  <c:v>Itálie</c:v>
                </c:pt>
                <c:pt idx="14">
                  <c:v>Nizozemsko</c:v>
                </c:pt>
                <c:pt idx="15">
                  <c:v>Rakousko</c:v>
                </c:pt>
                <c:pt idx="16">
                  <c:v>Řecko</c:v>
                </c:pt>
                <c:pt idx="17">
                  <c:v>Lucembursko</c:v>
                </c:pt>
                <c:pt idx="18">
                  <c:v>Litva</c:v>
                </c:pt>
                <c:pt idx="19">
                  <c:v>Lotyšsko</c:v>
                </c:pt>
                <c:pt idx="20">
                  <c:v>Lichtenštejnsko</c:v>
                </c:pt>
                <c:pt idx="21">
                  <c:v>Česká republika</c:v>
                </c:pt>
                <c:pt idx="22">
                  <c:v>Estonsko</c:v>
                </c:pt>
                <c:pt idx="23">
                  <c:v>Maďarsko</c:v>
                </c:pt>
                <c:pt idx="24">
                  <c:v>Slovinsko</c:v>
                </c:pt>
                <c:pt idx="25">
                  <c:v>Polsko</c:v>
                </c:pt>
                <c:pt idx="26">
                  <c:v>Chorvatsko</c:v>
                </c:pt>
                <c:pt idx="27">
                  <c:v>Sloven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94499999999999995</c:v>
                </c:pt>
                <c:pt idx="1">
                  <c:v>0.94</c:v>
                </c:pt>
                <c:pt idx="2">
                  <c:v>0.93700000000000006</c:v>
                </c:pt>
                <c:pt idx="3">
                  <c:v>0.92300000000000004</c:v>
                </c:pt>
                <c:pt idx="4">
                  <c:v>0.91700000000000004</c:v>
                </c:pt>
                <c:pt idx="5">
                  <c:v>0.91500000000000004</c:v>
                </c:pt>
                <c:pt idx="6">
                  <c:v>0.91200000000000003</c:v>
                </c:pt>
                <c:pt idx="7">
                  <c:v>0.89600000000000002</c:v>
                </c:pt>
                <c:pt idx="8">
                  <c:v>0.88800000000000001</c:v>
                </c:pt>
                <c:pt idx="9">
                  <c:v>0.874</c:v>
                </c:pt>
                <c:pt idx="10">
                  <c:v>0.86799999999999999</c:v>
                </c:pt>
                <c:pt idx="11">
                  <c:v>0.86399999999999999</c:v>
                </c:pt>
                <c:pt idx="12">
                  <c:v>0.85699999999999998</c:v>
                </c:pt>
                <c:pt idx="13">
                  <c:v>0.85699999999999998</c:v>
                </c:pt>
                <c:pt idx="14">
                  <c:v>0.82599999999999996</c:v>
                </c:pt>
                <c:pt idx="15">
                  <c:v>0.82599999999999996</c:v>
                </c:pt>
                <c:pt idx="16">
                  <c:v>0.80400000000000005</c:v>
                </c:pt>
                <c:pt idx="17">
                  <c:v>0.79600000000000004</c:v>
                </c:pt>
                <c:pt idx="18">
                  <c:v>0.78700000000000003</c:v>
                </c:pt>
                <c:pt idx="19">
                  <c:v>0.76800000000000002</c:v>
                </c:pt>
                <c:pt idx="20">
                  <c:v>0.754</c:v>
                </c:pt>
                <c:pt idx="21">
                  <c:v>0.74099999999999999</c:v>
                </c:pt>
                <c:pt idx="22">
                  <c:v>0.72699999999999998</c:v>
                </c:pt>
                <c:pt idx="23">
                  <c:v>0.70699999999999996</c:v>
                </c:pt>
                <c:pt idx="24">
                  <c:v>0.68300000000000005</c:v>
                </c:pt>
                <c:pt idx="25">
                  <c:v>0.65800000000000003</c:v>
                </c:pt>
                <c:pt idx="26">
                  <c:v>0.65100000000000002</c:v>
                </c:pt>
                <c:pt idx="27">
                  <c:v>0.59599999999999997</c:v>
                </c:pt>
                <c:pt idx="28">
                  <c:v>0.497</c:v>
                </c:pt>
                <c:pt idx="29">
                  <c:v>0.346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93128"/>
        <c:axId val="359286856"/>
      </c:barChart>
      <c:catAx>
        <c:axId val="359293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856"/>
        <c:crosses val="autoZero"/>
        <c:auto val="1"/>
        <c:lblAlgn val="ctr"/>
        <c:lblOffset val="100"/>
        <c:noMultiLvlLbl val="0"/>
      </c:catAx>
      <c:valAx>
        <c:axId val="359286856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Island</c:v>
                </c:pt>
                <c:pt idx="1">
                  <c:v>Malta</c:v>
                </c:pt>
                <c:pt idx="2">
                  <c:v>Dánsko</c:v>
                </c:pt>
                <c:pt idx="3">
                  <c:v>Belgie</c:v>
                </c:pt>
                <c:pt idx="4">
                  <c:v>Irsko</c:v>
                </c:pt>
                <c:pt idx="5">
                  <c:v>Francie</c:v>
                </c:pt>
                <c:pt idx="6">
                  <c:v>Itálie</c:v>
                </c:pt>
                <c:pt idx="7">
                  <c:v>Portugalsko</c:v>
                </c:pt>
                <c:pt idx="8">
                  <c:v>Norsko</c:v>
                </c:pt>
                <c:pt idx="9">
                  <c:v>Německo</c:v>
                </c:pt>
                <c:pt idx="10">
                  <c:v>Rakousko</c:v>
                </c:pt>
                <c:pt idx="11">
                  <c:v>Nizozemsko</c:v>
                </c:pt>
                <c:pt idx="12">
                  <c:v>Finsko</c:v>
                </c:pt>
                <c:pt idx="13">
                  <c:v>Španělsko</c:v>
                </c:pt>
                <c:pt idx="14">
                  <c:v>Kypr</c:v>
                </c:pt>
                <c:pt idx="15">
                  <c:v>Řecko</c:v>
                </c:pt>
                <c:pt idx="16">
                  <c:v>Švédsko</c:v>
                </c:pt>
                <c:pt idx="17">
                  <c:v>Lichtenštejnsko</c:v>
                </c:pt>
                <c:pt idx="18">
                  <c:v>Maďarsko</c:v>
                </c:pt>
                <c:pt idx="19">
                  <c:v>Česká republika</c:v>
                </c:pt>
                <c:pt idx="20">
                  <c:v>Lucembursko</c:v>
                </c:pt>
                <c:pt idx="21">
                  <c:v>Estonsko</c:v>
                </c:pt>
                <c:pt idx="22">
                  <c:v>Litva</c:v>
                </c:pt>
                <c:pt idx="23">
                  <c:v>Slovensko</c:v>
                </c:pt>
                <c:pt idx="24">
                  <c:v>Slovinsko</c:v>
                </c:pt>
                <c:pt idx="25">
                  <c:v>Polsko</c:v>
                </c:pt>
                <c:pt idx="26">
                  <c:v>Lotyšsko</c:v>
                </c:pt>
                <c:pt idx="27">
                  <c:v>Chorvatsko</c:v>
                </c:pt>
                <c:pt idx="28">
                  <c:v>Bulharsko</c:v>
                </c:pt>
                <c:pt idx="29">
                  <c:v>Rumun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84799999999999998</c:v>
                </c:pt>
                <c:pt idx="1">
                  <c:v>0.77</c:v>
                </c:pt>
                <c:pt idx="2">
                  <c:v>0.76200000000000001</c:v>
                </c:pt>
                <c:pt idx="3">
                  <c:v>0.73099999999999998</c:v>
                </c:pt>
                <c:pt idx="4">
                  <c:v>0.72</c:v>
                </c:pt>
                <c:pt idx="5">
                  <c:v>0.71399999999999997</c:v>
                </c:pt>
                <c:pt idx="6">
                  <c:v>0.69699999999999995</c:v>
                </c:pt>
                <c:pt idx="7">
                  <c:v>0.69399999999999995</c:v>
                </c:pt>
                <c:pt idx="8">
                  <c:v>0.66600000000000004</c:v>
                </c:pt>
                <c:pt idx="9">
                  <c:v>0.66400000000000003</c:v>
                </c:pt>
                <c:pt idx="10">
                  <c:v>0.65800000000000003</c:v>
                </c:pt>
                <c:pt idx="11">
                  <c:v>0.63</c:v>
                </c:pt>
                <c:pt idx="12">
                  <c:v>0.60199999999999998</c:v>
                </c:pt>
                <c:pt idx="13">
                  <c:v>0.59799999999999998</c:v>
                </c:pt>
                <c:pt idx="14">
                  <c:v>0.58699999999999997</c:v>
                </c:pt>
                <c:pt idx="15">
                  <c:v>0.57299999999999995</c:v>
                </c:pt>
                <c:pt idx="16">
                  <c:v>0.57099999999999995</c:v>
                </c:pt>
                <c:pt idx="17">
                  <c:v>0.55200000000000005</c:v>
                </c:pt>
                <c:pt idx="18">
                  <c:v>0.45800000000000002</c:v>
                </c:pt>
                <c:pt idx="19">
                  <c:v>0.44700000000000001</c:v>
                </c:pt>
                <c:pt idx="20">
                  <c:v>0.4</c:v>
                </c:pt>
                <c:pt idx="21">
                  <c:v>0.38900000000000001</c:v>
                </c:pt>
                <c:pt idx="22">
                  <c:v>0.376</c:v>
                </c:pt>
                <c:pt idx="23">
                  <c:v>0.36099999999999999</c:v>
                </c:pt>
                <c:pt idx="24">
                  <c:v>0.35699999999999998</c:v>
                </c:pt>
                <c:pt idx="25">
                  <c:v>0.34899999999999998</c:v>
                </c:pt>
                <c:pt idx="26">
                  <c:v>0.312</c:v>
                </c:pt>
                <c:pt idx="27">
                  <c:v>0.249</c:v>
                </c:pt>
                <c:pt idx="28">
                  <c:v>0.114</c:v>
                </c:pt>
                <c:pt idx="29">
                  <c:v>0.10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89600"/>
        <c:axId val="359286464"/>
      </c:barChart>
      <c:catAx>
        <c:axId val="359289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464"/>
        <c:crosses val="autoZero"/>
        <c:auto val="1"/>
        <c:lblAlgn val="ctr"/>
        <c:lblOffset val="100"/>
        <c:noMultiLvlLbl val="0"/>
      </c:catAx>
      <c:valAx>
        <c:axId val="359286464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9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147262593113503E-2"/>
          <c:y val="4.8800639884654412E-2"/>
          <c:w val="0.86121607542845235"/>
          <c:h val="0.82460070750847803"/>
        </c:manualLayout>
      </c:layout>
      <c:scatterChart>
        <c:scatterStyle val="lineMarker"/>
        <c:varyColors val="0"/>
        <c:ser>
          <c:idx val="0"/>
          <c:order val="0"/>
          <c:tx>
            <c:strRef>
              <c:f>List1!$C$3</c:f>
              <c:strCache>
                <c:ptCount val="1"/>
                <c:pt idx="0">
                  <c:v>B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577307703388237E-2"/>
                  <c:y val="4.6663727219282561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</c:f>
              <c:numCache>
                <c:formatCode>0.0%</c:formatCode>
                <c:ptCount val="1"/>
                <c:pt idx="0">
                  <c:v>0.73099999999999998</c:v>
                </c:pt>
              </c:numCache>
            </c:numRef>
          </c:xVal>
          <c:yVal>
            <c:numRef>
              <c:f>List1!$A$3</c:f>
              <c:numCache>
                <c:formatCode>0.0%</c:formatCode>
                <c:ptCount val="1"/>
                <c:pt idx="0">
                  <c:v>0.888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5A2-44FB-8F7B-9BC1EF59F5D8}"/>
            </c:ext>
          </c:extLst>
        </c:ser>
        <c:ser>
          <c:idx val="1"/>
          <c:order val="1"/>
          <c:tx>
            <c:strRef>
              <c:f>List1!$C$2</c:f>
              <c:strCache>
                <c:ptCount val="1"/>
                <c:pt idx="0">
                  <c:v>A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1688510738611633E-3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</c:f>
              <c:numCache>
                <c:formatCode>0.0%</c:formatCode>
                <c:ptCount val="1"/>
                <c:pt idx="0">
                  <c:v>0.65800000000000003</c:v>
                </c:pt>
              </c:numCache>
            </c:numRef>
          </c:xVal>
          <c:yVal>
            <c:numRef>
              <c:f>List1!$A$2</c:f>
              <c:numCache>
                <c:formatCode>0.0%</c:formatCode>
                <c:ptCount val="1"/>
                <c:pt idx="0">
                  <c:v>0.825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5A2-44FB-8F7B-9BC1EF59F5D8}"/>
            </c:ext>
          </c:extLst>
        </c:ser>
        <c:ser>
          <c:idx val="2"/>
          <c:order val="2"/>
          <c:tx>
            <c:strRef>
              <c:f>List1!$C$4</c:f>
              <c:strCache>
                <c:ptCount val="1"/>
                <c:pt idx="0">
                  <c:v>BG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47606396832839E-2"/>
                  <c:y val="2.33318636096409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4</c:f>
              <c:numCache>
                <c:formatCode>0.0%</c:formatCode>
                <c:ptCount val="1"/>
                <c:pt idx="0">
                  <c:v>0.114</c:v>
                </c:pt>
              </c:numCache>
            </c:numRef>
          </c:xVal>
          <c:yVal>
            <c:numRef>
              <c:f>List1!$A$4</c:f>
              <c:numCache>
                <c:formatCode>0.0%</c:formatCode>
                <c:ptCount val="1"/>
                <c:pt idx="0">
                  <c:v>0.346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149-402E-9150-02BFAEF7D23C}"/>
            </c:ext>
          </c:extLst>
        </c:ser>
        <c:ser>
          <c:idx val="3"/>
          <c:order val="3"/>
          <c:tx>
            <c:strRef>
              <c:f>List1!$C$5</c:f>
              <c:strCache>
                <c:ptCount val="1"/>
                <c:pt idx="0">
                  <c:v>H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27526924636813E-2"/>
                  <c:y val="4.6663727219282778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5</c:f>
              <c:numCache>
                <c:formatCode>0.0%</c:formatCode>
                <c:ptCount val="1"/>
                <c:pt idx="0">
                  <c:v>0.249</c:v>
                </c:pt>
              </c:numCache>
            </c:numRef>
          </c:xVal>
          <c:yVal>
            <c:numRef>
              <c:f>List1!$A$5</c:f>
              <c:numCache>
                <c:formatCode>0.0%</c:formatCode>
                <c:ptCount val="1"/>
                <c:pt idx="0">
                  <c:v>0.651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149-402E-9150-02BFAEF7D23C}"/>
            </c:ext>
          </c:extLst>
        </c:ser>
        <c:ser>
          <c:idx val="4"/>
          <c:order val="4"/>
          <c:tx>
            <c:strRef>
              <c:f>List1!$C$6</c:f>
              <c:strCache>
                <c:ptCount val="1"/>
                <c:pt idx="0">
                  <c:v>CY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9988367046709801E-2"/>
                  <c:y val="-4.4330540858318633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6</c:f>
              <c:numCache>
                <c:formatCode>0.0%</c:formatCode>
                <c:ptCount val="1"/>
                <c:pt idx="0">
                  <c:v>0.58699999999999997</c:v>
                </c:pt>
              </c:numCache>
            </c:numRef>
          </c:xVal>
          <c:yVal>
            <c:numRef>
              <c:f>List1!$A$6</c:f>
              <c:numCache>
                <c:formatCode>0.0%</c:formatCode>
                <c:ptCount val="1"/>
                <c:pt idx="0">
                  <c:v>0.863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149-402E-9150-02BFAEF7D23C}"/>
            </c:ext>
          </c:extLst>
        </c:ser>
        <c:ser>
          <c:idx val="5"/>
          <c:order val="5"/>
          <c:tx>
            <c:strRef>
              <c:f>List1!$C$7</c:f>
              <c:strCache>
                <c:ptCount val="1"/>
                <c:pt idx="0">
                  <c:v>CZ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6381313554199394E-3"/>
                  <c:y val="-1.1665931804820694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7</c:f>
              <c:numCache>
                <c:formatCode>0.0%</c:formatCode>
                <c:ptCount val="1"/>
                <c:pt idx="0">
                  <c:v>0.44700000000000001</c:v>
                </c:pt>
              </c:numCache>
            </c:numRef>
          </c:xVal>
          <c:yVal>
            <c:numRef>
              <c:f>List1!$A$7</c:f>
              <c:numCache>
                <c:formatCode>0.0%</c:formatCode>
                <c:ptCount val="1"/>
                <c:pt idx="0">
                  <c:v>0.740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9149-402E-9150-02BFAEF7D23C}"/>
            </c:ext>
          </c:extLst>
        </c:ser>
        <c:ser>
          <c:idx val="6"/>
          <c:order val="6"/>
          <c:tx>
            <c:strRef>
              <c:f>List1!$C$8</c:f>
              <c:strCache>
                <c:ptCount val="1"/>
                <c:pt idx="0">
                  <c:v>D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8730793886248232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8</c:f>
              <c:numCache>
                <c:formatCode>0.0%</c:formatCode>
                <c:ptCount val="1"/>
                <c:pt idx="0">
                  <c:v>0.76200000000000001</c:v>
                </c:pt>
              </c:numCache>
            </c:numRef>
          </c:xVal>
          <c:yVal>
            <c:numRef>
              <c:f>List1!$A$8</c:f>
              <c:numCache>
                <c:formatCode>0.0%</c:formatCode>
                <c:ptCount val="1"/>
                <c:pt idx="0">
                  <c:v>0.912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9149-402E-9150-02BFAEF7D23C}"/>
            </c:ext>
          </c:extLst>
        </c:ser>
        <c:ser>
          <c:idx val="7"/>
          <c:order val="7"/>
          <c:tx>
            <c:strRef>
              <c:f>List1!$C$9</c:f>
              <c:strCache>
                <c:ptCount val="1"/>
                <c:pt idx="0">
                  <c:v>E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4535669150020898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9</c:f>
              <c:numCache>
                <c:formatCode>0.0%</c:formatCode>
                <c:ptCount val="1"/>
                <c:pt idx="0">
                  <c:v>0.38900000000000001</c:v>
                </c:pt>
              </c:numCache>
            </c:numRef>
          </c:xVal>
          <c:yVal>
            <c:numRef>
              <c:f>List1!$A$9</c:f>
              <c:numCache>
                <c:formatCode>0.0%</c:formatCode>
                <c:ptCount val="1"/>
                <c:pt idx="0">
                  <c:v>0.726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9149-402E-9150-02BFAEF7D23C}"/>
            </c:ext>
          </c:extLst>
        </c:ser>
        <c:ser>
          <c:idx val="8"/>
          <c:order val="8"/>
          <c:tx>
            <c:strRef>
              <c:f>List1!$C$10</c:f>
              <c:strCache>
                <c:ptCount val="1"/>
                <c:pt idx="0">
                  <c:v>F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7220601601147073E-3"/>
                  <c:y val="-9.3327454438565764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0</c:f>
              <c:numCache>
                <c:formatCode>0.0%</c:formatCode>
                <c:ptCount val="1"/>
                <c:pt idx="0">
                  <c:v>0.60199999999999998</c:v>
                </c:pt>
              </c:numCache>
            </c:numRef>
          </c:xVal>
          <c:yVal>
            <c:numRef>
              <c:f>List1!$A$10</c:f>
              <c:numCache>
                <c:formatCode>0.0%</c:formatCode>
                <c:ptCount val="1"/>
                <c:pt idx="0">
                  <c:v>0.87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9149-402E-9150-02BFAEF7D23C}"/>
            </c:ext>
          </c:extLst>
        </c:ser>
        <c:ser>
          <c:idx val="9"/>
          <c:order val="9"/>
          <c:tx>
            <c:strRef>
              <c:f>List1!$C$11</c:f>
              <c:strCache>
                <c:ptCount val="1"/>
                <c:pt idx="0">
                  <c:v>F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392743262970387E-2"/>
                  <c:y val="-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1</c:f>
              <c:numCache>
                <c:formatCode>0.0%</c:formatCode>
                <c:ptCount val="1"/>
                <c:pt idx="0">
                  <c:v>0.71399999999999997</c:v>
                </c:pt>
              </c:numCache>
            </c:numRef>
          </c:xVal>
          <c:yVal>
            <c:numRef>
              <c:f>List1!$A$11</c:f>
              <c:numCache>
                <c:formatCode>0.0%</c:formatCode>
                <c:ptCount val="1"/>
                <c:pt idx="0">
                  <c:v>0.917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9149-402E-9150-02BFAEF7D23C}"/>
            </c:ext>
          </c:extLst>
        </c:ser>
        <c:ser>
          <c:idx val="10"/>
          <c:order val="10"/>
          <c:tx>
            <c:strRef>
              <c:f>List1!$C$12</c:f>
              <c:strCache>
                <c:ptCount val="1"/>
                <c:pt idx="0">
                  <c:v>D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0779589409237369E-2"/>
                  <c:y val="2.9982363315696433E-3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2</c:f>
              <c:numCache>
                <c:formatCode>0.0%</c:formatCode>
                <c:ptCount val="1"/>
                <c:pt idx="0">
                  <c:v>0.66400000000000003</c:v>
                </c:pt>
              </c:numCache>
            </c:numRef>
          </c:xVal>
          <c:yVal>
            <c:numRef>
              <c:f>List1!$A$12</c:f>
              <c:numCache>
                <c:formatCode>0.0%</c:formatCode>
                <c:ptCount val="1"/>
                <c:pt idx="0">
                  <c:v>0.896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9149-402E-9150-02BFAEF7D23C}"/>
            </c:ext>
          </c:extLst>
        </c:ser>
        <c:ser>
          <c:idx val="11"/>
          <c:order val="11"/>
          <c:tx>
            <c:strRef>
              <c:f>List1!$C$13</c:f>
              <c:strCache>
                <c:ptCount val="1"/>
                <c:pt idx="0">
                  <c:v>E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60000"/>
                </a:schemeClr>
              </a:solidFill>
              <a:ln w="9525">
                <a:solidFill>
                  <a:schemeClr val="accent6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476672067665034E-2"/>
                  <c:y val="1.399911816578479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3</c:f>
              <c:numCache>
                <c:formatCode>0.0%</c:formatCode>
                <c:ptCount val="1"/>
                <c:pt idx="0">
                  <c:v>0.57299999999999995</c:v>
                </c:pt>
              </c:numCache>
            </c:numRef>
          </c:xVal>
          <c:yVal>
            <c:numRef>
              <c:f>List1!$A$13</c:f>
              <c:numCache>
                <c:formatCode>0.0%</c:formatCode>
                <c:ptCount val="1"/>
                <c:pt idx="0">
                  <c:v>0.804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9149-402E-9150-02BFAEF7D23C}"/>
            </c:ext>
          </c:extLst>
        </c:ser>
        <c:ser>
          <c:idx val="12"/>
          <c:order val="12"/>
          <c:tx>
            <c:strRef>
              <c:f>List1!$C$14</c:f>
              <c:strCache>
                <c:ptCount val="1"/>
                <c:pt idx="0">
                  <c:v>H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  <a:lumOff val="20000"/>
                </a:schemeClr>
              </a:solidFill>
              <a:ln w="9525">
                <a:solidFill>
                  <a:schemeClr val="accent1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3387377081463958E-2"/>
                  <c:y val="-4.2774589148638603E-17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4</c:f>
              <c:numCache>
                <c:formatCode>0.0%</c:formatCode>
                <c:ptCount val="1"/>
                <c:pt idx="0">
                  <c:v>0.45800000000000002</c:v>
                </c:pt>
              </c:numCache>
            </c:numRef>
          </c:xVal>
          <c:yVal>
            <c:numRef>
              <c:f>List1!$A$14</c:f>
              <c:numCache>
                <c:formatCode>0.0%</c:formatCode>
                <c:ptCount val="1"/>
                <c:pt idx="0">
                  <c:v>0.706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9149-402E-9150-02BFAEF7D23C}"/>
            </c:ext>
          </c:extLst>
        </c:ser>
        <c:ser>
          <c:idx val="13"/>
          <c:order val="13"/>
          <c:tx>
            <c:strRef>
              <c:f>List1!$C$15</c:f>
              <c:strCache>
                <c:ptCount val="1"/>
                <c:pt idx="0">
                  <c:v>I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  <a:lumOff val="20000"/>
                </a:schemeClr>
              </a:solidFill>
              <a:ln w="9525">
                <a:solidFill>
                  <a:schemeClr val="accent2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2863250904636667E-3"/>
                  <c:y val="0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5</c:f>
              <c:numCache>
                <c:formatCode>0.0%</c:formatCode>
                <c:ptCount val="1"/>
                <c:pt idx="0">
                  <c:v>0.84799999999999998</c:v>
                </c:pt>
              </c:numCache>
            </c:numRef>
          </c:xVal>
          <c:yVal>
            <c:numRef>
              <c:f>List1!$A$15</c:f>
              <c:numCache>
                <c:formatCode>0.0%</c:formatCode>
                <c:ptCount val="1"/>
                <c:pt idx="0">
                  <c:v>0.923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9149-402E-9150-02BFAEF7D23C}"/>
            </c:ext>
          </c:extLst>
        </c:ser>
        <c:ser>
          <c:idx val="14"/>
          <c:order val="14"/>
          <c:tx>
            <c:strRef>
              <c:f>List1!$C$16</c:f>
              <c:strCache>
                <c:ptCount val="1"/>
                <c:pt idx="0">
                  <c:v>I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  <a:lumOff val="20000"/>
                </a:schemeClr>
              </a:solidFill>
              <a:ln w="9525">
                <a:solidFill>
                  <a:schemeClr val="accent3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255382592350299E-2"/>
                  <c:y val="-2.333186360964138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6</c:f>
              <c:numCache>
                <c:formatCode>0.0%</c:formatCode>
                <c:ptCount val="1"/>
                <c:pt idx="0">
                  <c:v>0.72</c:v>
                </c:pt>
              </c:numCache>
            </c:numRef>
          </c:xVal>
          <c:yVal>
            <c:numRef>
              <c:f>List1!$A$16</c:f>
              <c:numCache>
                <c:formatCode>0.0%</c:formatCode>
                <c:ptCount val="1"/>
                <c:pt idx="0">
                  <c:v>0.944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9149-402E-9150-02BFAEF7D23C}"/>
            </c:ext>
          </c:extLst>
        </c:ser>
        <c:ser>
          <c:idx val="15"/>
          <c:order val="15"/>
          <c:tx>
            <c:strRef>
              <c:f>List1!$C$17</c:f>
              <c:strCache>
                <c:ptCount val="1"/>
                <c:pt idx="0">
                  <c:v>I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  <a:lumOff val="20000"/>
                </a:schemeClr>
              </a:solidFill>
              <a:ln w="9525">
                <a:solidFill>
                  <a:schemeClr val="accent4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6.9450428135567552E-3"/>
                  <c:y val="-6.6486625514403292E-4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7</c:f>
              <c:numCache>
                <c:formatCode>0.0%</c:formatCode>
                <c:ptCount val="1"/>
                <c:pt idx="0">
                  <c:v>0.69699999999999995</c:v>
                </c:pt>
              </c:numCache>
            </c:numRef>
          </c:xVal>
          <c:yVal>
            <c:numRef>
              <c:f>List1!$A$17</c:f>
              <c:numCache>
                <c:formatCode>0.0%</c:formatCode>
                <c:ptCount val="1"/>
                <c:pt idx="0">
                  <c:v>0.856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9149-402E-9150-02BFAEF7D23C}"/>
            </c:ext>
          </c:extLst>
        </c:ser>
        <c:ser>
          <c:idx val="16"/>
          <c:order val="16"/>
          <c:tx>
            <c:strRef>
              <c:f>List1!$C$18</c:f>
              <c:strCache>
                <c:ptCount val="1"/>
                <c:pt idx="0">
                  <c:v>LV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  <a:lumOff val="20000"/>
                </a:schemeClr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6253773343027682E-2"/>
                  <c:y val="1.6332304526748928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8</c:f>
              <c:numCache>
                <c:formatCode>0.0%</c:formatCode>
                <c:ptCount val="1"/>
                <c:pt idx="0">
                  <c:v>0.312</c:v>
                </c:pt>
              </c:numCache>
            </c:numRef>
          </c:xVal>
          <c:yVal>
            <c:numRef>
              <c:f>List1!$A$18</c:f>
              <c:numCache>
                <c:formatCode>0.0%</c:formatCode>
                <c:ptCount val="1"/>
                <c:pt idx="0">
                  <c:v>0.768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9149-402E-9150-02BFAEF7D23C}"/>
            </c:ext>
          </c:extLst>
        </c:ser>
        <c:ser>
          <c:idx val="28"/>
          <c:order val="17"/>
          <c:tx>
            <c:strRef>
              <c:f>List1!$C$19</c:f>
              <c:strCache>
                <c:ptCount val="1"/>
                <c:pt idx="0">
                  <c:v>LI</c:v>
                </c:pt>
              </c:strCache>
            </c:strRef>
          </c:tx>
          <c:spPr>
            <a:ln w="25400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75000"/>
                </a:schemeClr>
              </a:solidFill>
              <a:ln w="9525">
                <a:solidFill>
                  <a:schemeClr val="accent1">
                    <a:lumMod val="7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7388985409937612E-3"/>
                  <c:y val="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9</c:f>
              <c:numCache>
                <c:formatCode>0.0%</c:formatCode>
                <c:ptCount val="1"/>
                <c:pt idx="0">
                  <c:v>0.55200000000000005</c:v>
                </c:pt>
              </c:numCache>
            </c:numRef>
          </c:xVal>
          <c:yVal>
            <c:numRef>
              <c:f>List1!$A$19</c:f>
              <c:numCache>
                <c:formatCode>0.0%</c:formatCode>
                <c:ptCount val="1"/>
                <c:pt idx="0">
                  <c:v>0.75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70D-44E3-9271-C9D0012D0ABC}"/>
            </c:ext>
          </c:extLst>
        </c:ser>
        <c:ser>
          <c:idx val="17"/>
          <c:order val="18"/>
          <c:tx>
            <c:strRef>
              <c:f>List1!$C$20</c:f>
              <c:strCache>
                <c:ptCount val="1"/>
                <c:pt idx="0">
                  <c:v>L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  <a:lumOff val="20000"/>
                </a:schemeClr>
              </a:solidFill>
              <a:ln w="9525">
                <a:solidFill>
                  <a:schemeClr val="accent6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431493902467101E-2"/>
                  <c:y val="-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0</c:f>
              <c:numCache>
                <c:formatCode>0.0%</c:formatCode>
                <c:ptCount val="1"/>
                <c:pt idx="0">
                  <c:v>0.376</c:v>
                </c:pt>
              </c:numCache>
            </c:numRef>
          </c:xVal>
          <c:yVal>
            <c:numRef>
              <c:f>List1!$A$20</c:f>
              <c:numCache>
                <c:formatCode>0.0%</c:formatCode>
                <c:ptCount val="1"/>
                <c:pt idx="0">
                  <c:v>0.787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F-9149-402E-9150-02BFAEF7D23C}"/>
            </c:ext>
          </c:extLst>
        </c:ser>
        <c:ser>
          <c:idx val="18"/>
          <c:order val="19"/>
          <c:tx>
            <c:strRef>
              <c:f>List1!$C$21</c:f>
              <c:strCache>
                <c:ptCount val="1"/>
                <c:pt idx="0">
                  <c:v>L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</a:schemeClr>
              </a:solidFill>
              <a:ln w="9525">
                <a:solidFill>
                  <a:schemeClr val="accent1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6428891188672612E-2"/>
                  <c:y val="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1</c:f>
              <c:numCache>
                <c:formatCode>0.0%</c:formatCode>
                <c:ptCount val="1"/>
                <c:pt idx="0">
                  <c:v>0.4</c:v>
                </c:pt>
              </c:numCache>
            </c:numRef>
          </c:xVal>
          <c:yVal>
            <c:numRef>
              <c:f>List1!$A$21</c:f>
              <c:numCache>
                <c:formatCode>0.0%</c:formatCode>
                <c:ptCount val="1"/>
                <c:pt idx="0">
                  <c:v>0.796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9149-402E-9150-02BFAEF7D23C}"/>
            </c:ext>
          </c:extLst>
        </c:ser>
        <c:ser>
          <c:idx val="19"/>
          <c:order val="20"/>
          <c:tx>
            <c:strRef>
              <c:f>List1!$C$22</c:f>
              <c:strCache>
                <c:ptCount val="1"/>
                <c:pt idx="0">
                  <c:v>M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</a:schemeClr>
              </a:solidFill>
              <a:ln w="9525">
                <a:solidFill>
                  <a:schemeClr val="accent2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6039283942591126E-3"/>
                  <c:y val="-6.6486625514403292E-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2</c:f>
              <c:numCache>
                <c:formatCode>0.0%</c:formatCode>
                <c:ptCount val="1"/>
                <c:pt idx="0">
                  <c:v>0.77</c:v>
                </c:pt>
              </c:numCache>
            </c:numRef>
          </c:xVal>
          <c:yVal>
            <c:numRef>
              <c:f>List1!$A$22</c:f>
              <c:numCache>
                <c:formatCode>0.0%</c:formatCode>
                <c:ptCount val="1"/>
                <c:pt idx="0">
                  <c:v>0.9370000000000000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9149-402E-9150-02BFAEF7D23C}"/>
            </c:ext>
          </c:extLst>
        </c:ser>
        <c:ser>
          <c:idx val="20"/>
          <c:order val="21"/>
          <c:tx>
            <c:strRef>
              <c:f>List1!$C$23</c:f>
              <c:strCache>
                <c:ptCount val="1"/>
                <c:pt idx="0">
                  <c:v>N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</a:schemeClr>
              </a:solidFill>
              <a:ln w="9525">
                <a:solidFill>
                  <a:schemeClr val="accent3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056582484847758E-2"/>
                  <c:y val="-2.1387294574319301E-17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3</c:f>
              <c:numCache>
                <c:formatCode>0.0%</c:formatCode>
                <c:ptCount val="1"/>
                <c:pt idx="0">
                  <c:v>0.63</c:v>
                </c:pt>
              </c:numCache>
            </c:numRef>
          </c:xVal>
          <c:yVal>
            <c:numRef>
              <c:f>List1!$A$23</c:f>
              <c:numCache>
                <c:formatCode>0.0%</c:formatCode>
                <c:ptCount val="1"/>
                <c:pt idx="0">
                  <c:v>0.825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9149-402E-9150-02BFAEF7D23C}"/>
            </c:ext>
          </c:extLst>
        </c:ser>
        <c:ser>
          <c:idx val="21"/>
          <c:order val="22"/>
          <c:tx>
            <c:strRef>
              <c:f>List1!$C$24</c:f>
              <c:strCache>
                <c:ptCount val="1"/>
                <c:pt idx="0">
                  <c:v>N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</a:schemeClr>
              </a:solidFill>
              <a:ln w="9525">
                <a:solidFill>
                  <a:schemeClr val="accent4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14019885864715E-2"/>
                  <c:y val="-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4</c:f>
              <c:numCache>
                <c:formatCode>0.0%</c:formatCode>
                <c:ptCount val="1"/>
                <c:pt idx="0">
                  <c:v>0.66600000000000004</c:v>
                </c:pt>
              </c:numCache>
            </c:numRef>
          </c:xVal>
          <c:yVal>
            <c:numRef>
              <c:f>List1!$A$24</c:f>
              <c:numCache>
                <c:formatCode>0.0%</c:formatCode>
                <c:ptCount val="1"/>
                <c:pt idx="0">
                  <c:v>0.915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3-9149-402E-9150-02BFAEF7D23C}"/>
            </c:ext>
          </c:extLst>
        </c:ser>
        <c:ser>
          <c:idx val="22"/>
          <c:order val="23"/>
          <c:tx>
            <c:strRef>
              <c:f>List1!$C$25</c:f>
              <c:strCache>
                <c:ptCount val="1"/>
                <c:pt idx="0">
                  <c:v>P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</a:schemeClr>
              </a:solidFill>
              <a:ln w="25400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94923175544988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5</c:f>
              <c:numCache>
                <c:formatCode>0.0%</c:formatCode>
                <c:ptCount val="1"/>
                <c:pt idx="0">
                  <c:v>0.34899999999999998</c:v>
                </c:pt>
              </c:numCache>
            </c:numRef>
          </c:xVal>
          <c:yVal>
            <c:numRef>
              <c:f>List1!$A$25</c:f>
              <c:numCache>
                <c:formatCode>0.0%</c:formatCode>
                <c:ptCount val="1"/>
                <c:pt idx="0">
                  <c:v>0.6580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9149-402E-9150-02BFAEF7D23C}"/>
            </c:ext>
          </c:extLst>
        </c:ser>
        <c:ser>
          <c:idx val="23"/>
          <c:order val="24"/>
          <c:tx>
            <c:strRef>
              <c:f>List1!$C$26</c:f>
              <c:strCache>
                <c:ptCount val="1"/>
                <c:pt idx="0">
                  <c:v>P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</a:schemeClr>
              </a:solidFill>
              <a:ln w="9525">
                <a:solidFill>
                  <a:schemeClr val="accent6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593084740072622E-2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6</c:f>
              <c:numCache>
                <c:formatCode>0.0%</c:formatCode>
                <c:ptCount val="1"/>
                <c:pt idx="0">
                  <c:v>0.69399999999999995</c:v>
                </c:pt>
              </c:numCache>
            </c:numRef>
          </c:xVal>
          <c:yVal>
            <c:numRef>
              <c:f>List1!$A$26</c:f>
              <c:numCache>
                <c:formatCode>0.0%</c:formatCode>
                <c:ptCount val="1"/>
                <c:pt idx="0">
                  <c:v>0.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5-9149-402E-9150-02BFAEF7D23C}"/>
            </c:ext>
          </c:extLst>
        </c:ser>
        <c:ser>
          <c:idx val="24"/>
          <c:order val="25"/>
          <c:tx>
            <c:strRef>
              <c:f>List1!$C$27</c:f>
              <c:strCache>
                <c:ptCount val="1"/>
                <c:pt idx="0">
                  <c:v>R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1546595822263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7</c:f>
              <c:numCache>
                <c:formatCode>0.0%</c:formatCode>
                <c:ptCount val="1"/>
                <c:pt idx="0">
                  <c:v>0.10199999999999999</c:v>
                </c:pt>
              </c:numCache>
            </c:numRef>
          </c:xVal>
          <c:yVal>
            <c:numRef>
              <c:f>List1!$A$27</c:f>
              <c:numCache>
                <c:formatCode>0.0%</c:formatCode>
                <c:ptCount val="1"/>
                <c:pt idx="0">
                  <c:v>0.4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6-9149-402E-9150-02BFAEF7D23C}"/>
            </c:ext>
          </c:extLst>
        </c:ser>
        <c:ser>
          <c:idx val="25"/>
          <c:order val="26"/>
          <c:tx>
            <c:strRef>
              <c:f>List1!$C$28</c:f>
              <c:strCache>
                <c:ptCount val="1"/>
                <c:pt idx="0">
                  <c:v>S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  <a:lumOff val="40000"/>
                </a:schemeClr>
              </a:solidFill>
              <a:ln w="9525">
                <a:solidFill>
                  <a:schemeClr val="accent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67688199491670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8</c:f>
              <c:numCache>
                <c:formatCode>0.0%</c:formatCode>
                <c:ptCount val="1"/>
                <c:pt idx="0">
                  <c:v>0.36099999999999999</c:v>
                </c:pt>
              </c:numCache>
            </c:numRef>
          </c:xVal>
          <c:yVal>
            <c:numRef>
              <c:f>List1!$A$28</c:f>
              <c:numCache>
                <c:formatCode>0.0%</c:formatCode>
                <c:ptCount val="1"/>
                <c:pt idx="0">
                  <c:v>0.595999999999999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9149-402E-9150-02BFAEF7D23C}"/>
            </c:ext>
          </c:extLst>
        </c:ser>
        <c:ser>
          <c:idx val="26"/>
          <c:order val="27"/>
          <c:tx>
            <c:strRef>
              <c:f>List1!$C$29</c:f>
              <c:strCache>
                <c:ptCount val="1"/>
                <c:pt idx="0">
                  <c:v>S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  <a:lumOff val="40000"/>
                </a:schemeClr>
              </a:solidFill>
              <a:ln w="9525">
                <a:solidFill>
                  <a:schemeClr val="accent3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3245935997577379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9</c:f>
              <c:numCache>
                <c:formatCode>0.0%</c:formatCode>
                <c:ptCount val="1"/>
                <c:pt idx="0">
                  <c:v>0.35699999999999998</c:v>
                </c:pt>
              </c:numCache>
            </c:numRef>
          </c:xVal>
          <c:yVal>
            <c:numRef>
              <c:f>List1!$A$29</c:f>
              <c:numCache>
                <c:formatCode>0.0%</c:formatCode>
                <c:ptCount val="1"/>
                <c:pt idx="0">
                  <c:v>0.683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9149-402E-9150-02BFAEF7D23C}"/>
            </c:ext>
          </c:extLst>
        </c:ser>
        <c:ser>
          <c:idx val="27"/>
          <c:order val="28"/>
          <c:tx>
            <c:strRef>
              <c:f>List1!$C$30</c:f>
              <c:strCache>
                <c:ptCount val="1"/>
                <c:pt idx="0">
                  <c:v>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  <a:lumOff val="40000"/>
                </a:schemeClr>
              </a:solidFill>
              <a:ln w="9525"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3298374399031074E-2"/>
                  <c:y val="4.6663727219282561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0</c:f>
              <c:numCache>
                <c:formatCode>0.0%</c:formatCode>
                <c:ptCount val="1"/>
                <c:pt idx="0">
                  <c:v>0.59799999999999998</c:v>
                </c:pt>
              </c:numCache>
            </c:numRef>
          </c:xVal>
          <c:yVal>
            <c:numRef>
              <c:f>List1!$A$30</c:f>
              <c:numCache>
                <c:formatCode>0.0%</c:formatCode>
                <c:ptCount val="1"/>
                <c:pt idx="0">
                  <c:v>0.856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9-9149-402E-9150-02BFAEF7D23C}"/>
            </c:ext>
          </c:extLst>
        </c:ser>
        <c:ser>
          <c:idx val="30"/>
          <c:order val="29"/>
          <c:tx>
            <c:strRef>
              <c:f>List1!$C$31</c:f>
              <c:strCache>
                <c:ptCount val="1"/>
                <c:pt idx="0">
                  <c:v>S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50000"/>
                </a:schemeClr>
              </a:solidFill>
              <a:ln w="9525">
                <a:solidFill>
                  <a:schemeClr val="accent1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47565097772453E-2"/>
                  <c:y val="0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1</c:f>
              <c:numCache>
                <c:formatCode>0.0%</c:formatCode>
                <c:ptCount val="1"/>
                <c:pt idx="0">
                  <c:v>0.57099999999999995</c:v>
                </c:pt>
              </c:numCache>
            </c:numRef>
          </c:xVal>
          <c:yVal>
            <c:numRef>
              <c:f>List1!$A$31</c:f>
              <c:numCache>
                <c:formatCode>0.0%</c:formatCode>
                <c:ptCount val="1"/>
                <c:pt idx="0">
                  <c:v>0.867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8DBA-474B-976E-F746759762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9293520"/>
        <c:axId val="359288424"/>
      </c:scatterChart>
      <c:valAx>
        <c:axId val="359293520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8424"/>
        <c:crosses val="autoZero"/>
        <c:crossBetween val="midCat"/>
      </c:valAx>
      <c:valAx>
        <c:axId val="35928842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52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833828720105065E-2"/>
          <c:y val="0.17197402263374487"/>
          <c:w val="0.87881422312393831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I$2:$I$34</c:f>
              <c:numCache>
                <c:formatCode>General</c:formatCode>
                <c:ptCount val="33"/>
                <c:pt idx="0">
                  <c:v>56.290160764560284</c:v>
                </c:pt>
                <c:pt idx="1">
                  <c:v>100.52558312301909</c:v>
                </c:pt>
                <c:pt idx="2">
                  <c:v>148.00684577224965</c:v>
                </c:pt>
                <c:pt idx="3">
                  <c:v>172.95815816788803</c:v>
                </c:pt>
                <c:pt idx="4">
                  <c:v>188.07648380030619</c:v>
                </c:pt>
                <c:pt idx="5">
                  <c:v>204.16682577648484</c:v>
                </c:pt>
                <c:pt idx="6">
                  <c:v>222.1230919839895</c:v>
                </c:pt>
                <c:pt idx="7">
                  <c:v>235.91357386109189</c:v>
                </c:pt>
                <c:pt idx="8">
                  <c:v>242.54411392031551</c:v>
                </c:pt>
                <c:pt idx="9">
                  <c:v>241.93660370546516</c:v>
                </c:pt>
                <c:pt idx="10">
                  <c:v>238.84698032708351</c:v>
                </c:pt>
                <c:pt idx="11">
                  <c:v>245.04358451855683</c:v>
                </c:pt>
                <c:pt idx="12">
                  <c:v>244.06288945744132</c:v>
                </c:pt>
                <c:pt idx="13">
                  <c:v>234.0042560429909</c:v>
                </c:pt>
                <c:pt idx="14">
                  <c:v>245.06962067062184</c:v>
                </c:pt>
                <c:pt idx="15">
                  <c:v>327.9947649976915</c:v>
                </c:pt>
                <c:pt idx="16">
                  <c:v>545.63963882649853</c:v>
                </c:pt>
                <c:pt idx="17">
                  <c:v>822.94201575360773</c:v>
                </c:pt>
                <c:pt idx="18">
                  <c:v>977.67486747598593</c:v>
                </c:pt>
                <c:pt idx="19">
                  <c:v>1141.4162278128592</c:v>
                </c:pt>
                <c:pt idx="20">
                  <c:v>1620.4814258091169</c:v>
                </c:pt>
                <c:pt idx="21">
                  <c:v>2072.5037405271801</c:v>
                </c:pt>
                <c:pt idx="22">
                  <c:v>2109.709401828085</c:v>
                </c:pt>
                <c:pt idx="23">
                  <c:v>1789.4560527110577</c:v>
                </c:pt>
                <c:pt idx="24">
                  <c:v>1266.9799105050668</c:v>
                </c:pt>
                <c:pt idx="25">
                  <c:v>887.51167287484247</c:v>
                </c:pt>
                <c:pt idx="26">
                  <c:v>1067.5343069697044</c:v>
                </c:pt>
                <c:pt idx="27">
                  <c:v>2027.1140487605057</c:v>
                </c:pt>
                <c:pt idx="28">
                  <c:v>3075.2948160285496</c:v>
                </c:pt>
                <c:pt idx="29">
                  <c:v>4773.4681195996682</c:v>
                </c:pt>
                <c:pt idx="30">
                  <c:v>5813.0135630994828</c:v>
                </c:pt>
                <c:pt idx="31">
                  <c:v>4371.8344378447619</c:v>
                </c:pt>
                <c:pt idx="32">
                  <c:v>2240.52370852007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C$2:$C$34</c:f>
              <c:numCache>
                <c:formatCode>General</c:formatCode>
                <c:ptCount val="33"/>
                <c:pt idx="0">
                  <c:v>16.037121588219271</c:v>
                </c:pt>
                <c:pt idx="1">
                  <c:v>22.246246214795129</c:v>
                </c:pt>
                <c:pt idx="2">
                  <c:v>27.800794450015097</c:v>
                </c:pt>
                <c:pt idx="3">
                  <c:v>27.71663462826934</c:v>
                </c:pt>
                <c:pt idx="4">
                  <c:v>23.789176280134008</c:v>
                </c:pt>
                <c:pt idx="5">
                  <c:v>22.386512584371392</c:v>
                </c:pt>
                <c:pt idx="6">
                  <c:v>23.246812984439128</c:v>
                </c:pt>
                <c:pt idx="7">
                  <c:v>24.172571023642458</c:v>
                </c:pt>
                <c:pt idx="8">
                  <c:v>24.518561401930569</c:v>
                </c:pt>
                <c:pt idx="9">
                  <c:v>28.773307945743845</c:v>
                </c:pt>
                <c:pt idx="10">
                  <c:v>40.817513546692197</c:v>
                </c:pt>
                <c:pt idx="11">
                  <c:v>53.095496430267652</c:v>
                </c:pt>
                <c:pt idx="12">
                  <c:v>59.295269965538417</c:v>
                </c:pt>
                <c:pt idx="13">
                  <c:v>72.714085988334148</c:v>
                </c:pt>
                <c:pt idx="14">
                  <c:v>98.158405429468047</c:v>
                </c:pt>
                <c:pt idx="15">
                  <c:v>146.04534400280383</c:v>
                </c:pt>
                <c:pt idx="16">
                  <c:v>291.45481379686197</c:v>
                </c:pt>
                <c:pt idx="17">
                  <c:v>523.21226070206683</c:v>
                </c:pt>
                <c:pt idx="18">
                  <c:v>822.49393792128421</c:v>
                </c:pt>
                <c:pt idx="19">
                  <c:v>1221.102906983105</c:v>
                </c:pt>
                <c:pt idx="20">
                  <c:v>1725.4540165228173</c:v>
                </c:pt>
                <c:pt idx="21">
                  <c:v>2207.9142213173272</c:v>
                </c:pt>
                <c:pt idx="22">
                  <c:v>2272.7920927920009</c:v>
                </c:pt>
                <c:pt idx="23">
                  <c:v>1922.7900963340073</c:v>
                </c:pt>
                <c:pt idx="24">
                  <c:v>1492.6305452088327</c:v>
                </c:pt>
                <c:pt idx="25">
                  <c:v>1019.9328797368304</c:v>
                </c:pt>
                <c:pt idx="26">
                  <c:v>715.62966648678287</c:v>
                </c:pt>
                <c:pt idx="27">
                  <c:v>774.66310589577881</c:v>
                </c:pt>
                <c:pt idx="28">
                  <c:v>1118.5868930054678</c:v>
                </c:pt>
                <c:pt idx="29">
                  <c:v>2172.146297075381</c:v>
                </c:pt>
                <c:pt idx="30">
                  <c:v>3821.248653092186</c:v>
                </c:pt>
                <c:pt idx="31">
                  <c:v>4475.1798191480239</c:v>
                </c:pt>
                <c:pt idx="32">
                  <c:v>3635.87261906019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D$2:$D$34</c:f>
              <c:numCache>
                <c:formatCode>General</c:formatCode>
                <c:ptCount val="33"/>
                <c:pt idx="0">
                  <c:v>42.040863326998242</c:v>
                </c:pt>
                <c:pt idx="1">
                  <c:v>61.03812857641455</c:v>
                </c:pt>
                <c:pt idx="2">
                  <c:v>113.08638700743325</c:v>
                </c:pt>
                <c:pt idx="3">
                  <c:v>256.63910525777283</c:v>
                </c:pt>
                <c:pt idx="4">
                  <c:v>407.94729476209642</c:v>
                </c:pt>
                <c:pt idx="5">
                  <c:v>461.21509770556889</c:v>
                </c:pt>
                <c:pt idx="6">
                  <c:v>481.07094605875898</c:v>
                </c:pt>
                <c:pt idx="7">
                  <c:v>468.31251997171256</c:v>
                </c:pt>
                <c:pt idx="8">
                  <c:v>407.52988671337596</c:v>
                </c:pt>
                <c:pt idx="9">
                  <c:v>327.14392954413574</c:v>
                </c:pt>
                <c:pt idx="10">
                  <c:v>246.32273907142545</c:v>
                </c:pt>
                <c:pt idx="11">
                  <c:v>180.59656849585866</c:v>
                </c:pt>
                <c:pt idx="12">
                  <c:v>134.72178995979453</c:v>
                </c:pt>
                <c:pt idx="13">
                  <c:v>108.57808299367311</c:v>
                </c:pt>
                <c:pt idx="14">
                  <c:v>93.043373479372079</c:v>
                </c:pt>
                <c:pt idx="15">
                  <c:v>91.963460129123774</c:v>
                </c:pt>
                <c:pt idx="16">
                  <c:v>102.03472906266373</c:v>
                </c:pt>
                <c:pt idx="17">
                  <c:v>112.43873608486344</c:v>
                </c:pt>
                <c:pt idx="18">
                  <c:v>132.230710608534</c:v>
                </c:pt>
                <c:pt idx="19">
                  <c:v>173.88238920683202</c:v>
                </c:pt>
                <c:pt idx="20">
                  <c:v>281.71775325260393</c:v>
                </c:pt>
                <c:pt idx="21">
                  <c:v>474.50531055931253</c:v>
                </c:pt>
                <c:pt idx="22">
                  <c:v>726.20533481354255</c:v>
                </c:pt>
                <c:pt idx="23">
                  <c:v>938.43133242472072</c:v>
                </c:pt>
                <c:pt idx="24">
                  <c:v>1047.1015125679335</c:v>
                </c:pt>
                <c:pt idx="25">
                  <c:v>1316.2985097968194</c:v>
                </c:pt>
                <c:pt idx="26">
                  <c:v>2476.756759069222</c:v>
                </c:pt>
                <c:pt idx="27">
                  <c:v>4294.3846169477529</c:v>
                </c:pt>
                <c:pt idx="28">
                  <c:v>5597.1062243769393</c:v>
                </c:pt>
                <c:pt idx="29">
                  <c:v>6691.7447204863392</c:v>
                </c:pt>
                <c:pt idx="30">
                  <c:v>7251.1636029212987</c:v>
                </c:pt>
                <c:pt idx="31">
                  <c:v>6191.2680137568186</c:v>
                </c:pt>
                <c:pt idx="32">
                  <c:v>4109.61248252679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F$2:$F$34</c:f>
              <c:numCache>
                <c:formatCode>General</c:formatCode>
                <c:ptCount val="33"/>
                <c:pt idx="0">
                  <c:v>18.290958803710598</c:v>
                </c:pt>
                <c:pt idx="1">
                  <c:v>24.241514564492419</c:v>
                </c:pt>
                <c:pt idx="2">
                  <c:v>46.427413078627417</c:v>
                </c:pt>
                <c:pt idx="3">
                  <c:v>84.147799934166642</c:v>
                </c:pt>
                <c:pt idx="4">
                  <c:v>116.92699551694619</c:v>
                </c:pt>
                <c:pt idx="5">
                  <c:v>135.80647082447038</c:v>
                </c:pt>
                <c:pt idx="6">
                  <c:v>143.80258252443332</c:v>
                </c:pt>
                <c:pt idx="7">
                  <c:v>148.47550416582496</c:v>
                </c:pt>
                <c:pt idx="8">
                  <c:v>153.33789123437026</c:v>
                </c:pt>
                <c:pt idx="9">
                  <c:v>144.35924200952198</c:v>
                </c:pt>
                <c:pt idx="10">
                  <c:v>122.49023699744043</c:v>
                </c:pt>
                <c:pt idx="11">
                  <c:v>103.90082822883294</c:v>
                </c:pt>
                <c:pt idx="12">
                  <c:v>88.208731478999994</c:v>
                </c:pt>
                <c:pt idx="13">
                  <c:v>74.796926595795199</c:v>
                </c:pt>
                <c:pt idx="14">
                  <c:v>65.35886562722915</c:v>
                </c:pt>
                <c:pt idx="15">
                  <c:v>60.322103298294635</c:v>
                </c:pt>
                <c:pt idx="16">
                  <c:v>72.722867008281213</c:v>
                </c:pt>
                <c:pt idx="17">
                  <c:v>96.679345089445121</c:v>
                </c:pt>
                <c:pt idx="18">
                  <c:v>119.34812894004254</c:v>
                </c:pt>
                <c:pt idx="19">
                  <c:v>155.80094178736789</c:v>
                </c:pt>
                <c:pt idx="20">
                  <c:v>206.37982741141536</c:v>
                </c:pt>
                <c:pt idx="21">
                  <c:v>260.51496233628512</c:v>
                </c:pt>
                <c:pt idx="22">
                  <c:v>320.01045983292704</c:v>
                </c:pt>
                <c:pt idx="23">
                  <c:v>382.00924832727173</c:v>
                </c:pt>
                <c:pt idx="24">
                  <c:v>496.62912501445305</c:v>
                </c:pt>
                <c:pt idx="25">
                  <c:v>784.40195858292464</c:v>
                </c:pt>
                <c:pt idx="26">
                  <c:v>1854.8883287418987</c:v>
                </c:pt>
                <c:pt idx="27">
                  <c:v>3344.1251499291907</c:v>
                </c:pt>
                <c:pt idx="28">
                  <c:v>3939.7625357704019</c:v>
                </c:pt>
                <c:pt idx="29">
                  <c:v>3828.1523090101305</c:v>
                </c:pt>
                <c:pt idx="30">
                  <c:v>3354.2724487356854</c:v>
                </c:pt>
                <c:pt idx="31">
                  <c:v>2507.8867918251804</c:v>
                </c:pt>
                <c:pt idx="32">
                  <c:v>1473.16076352756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K$2:$K$34</c:f>
              <c:numCache>
                <c:formatCode>General</c:formatCode>
                <c:ptCount val="33"/>
                <c:pt idx="0">
                  <c:v>6.4690958394501434</c:v>
                </c:pt>
                <c:pt idx="1">
                  <c:v>5.0872478357701283</c:v>
                </c:pt>
                <c:pt idx="2">
                  <c:v>6.1620185052990291</c:v>
                </c:pt>
                <c:pt idx="3">
                  <c:v>7.4005637530418573</c:v>
                </c:pt>
                <c:pt idx="4">
                  <c:v>8.0044825102057153</c:v>
                </c:pt>
                <c:pt idx="5">
                  <c:v>7.6666974426394896</c:v>
                </c:pt>
                <c:pt idx="6">
                  <c:v>8.7824117567218707</c:v>
                </c:pt>
                <c:pt idx="7">
                  <c:v>11.361861363591233</c:v>
                </c:pt>
                <c:pt idx="8">
                  <c:v>17.636474891412337</c:v>
                </c:pt>
                <c:pt idx="9">
                  <c:v>26.275583892197023</c:v>
                </c:pt>
                <c:pt idx="10">
                  <c:v>34.576907825415482</c:v>
                </c:pt>
                <c:pt idx="11">
                  <c:v>46.501744301617094</c:v>
                </c:pt>
                <c:pt idx="12">
                  <c:v>57.884077487485065</c:v>
                </c:pt>
                <c:pt idx="13">
                  <c:v>68.017629514471835</c:v>
                </c:pt>
                <c:pt idx="14">
                  <c:v>83.903763601222821</c:v>
                </c:pt>
                <c:pt idx="15">
                  <c:v>117.84604493605933</c:v>
                </c:pt>
                <c:pt idx="16">
                  <c:v>215.51710901839047</c:v>
                </c:pt>
                <c:pt idx="17">
                  <c:v>391.42124193128711</c:v>
                </c:pt>
                <c:pt idx="18">
                  <c:v>608.88317406596798</c:v>
                </c:pt>
                <c:pt idx="19">
                  <c:v>882.48907879461092</c:v>
                </c:pt>
                <c:pt idx="20">
                  <c:v>1184.2949187094646</c:v>
                </c:pt>
                <c:pt idx="21">
                  <c:v>1390.7941900149506</c:v>
                </c:pt>
                <c:pt idx="22">
                  <c:v>1349.8096018169151</c:v>
                </c:pt>
                <c:pt idx="23">
                  <c:v>1046.3148365642305</c:v>
                </c:pt>
                <c:pt idx="24">
                  <c:v>725.0300577530578</c:v>
                </c:pt>
                <c:pt idx="25">
                  <c:v>474.74155859762283</c:v>
                </c:pt>
                <c:pt idx="26">
                  <c:v>346.78243345685348</c:v>
                </c:pt>
                <c:pt idx="27">
                  <c:v>535.2460293365308</c:v>
                </c:pt>
                <c:pt idx="28">
                  <c:v>879.76632643180437</c:v>
                </c:pt>
                <c:pt idx="29">
                  <c:v>1471.6374161858007</c:v>
                </c:pt>
                <c:pt idx="30">
                  <c:v>2100.1325959928863</c:v>
                </c:pt>
                <c:pt idx="31">
                  <c:v>2141.1376560131985</c:v>
                </c:pt>
                <c:pt idx="32">
                  <c:v>1675.33204783937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E$2:$E$34</c:f>
              <c:numCache>
                <c:formatCode>General</c:formatCode>
                <c:ptCount val="33"/>
                <c:pt idx="0">
                  <c:v>11.074142393342932</c:v>
                </c:pt>
                <c:pt idx="1">
                  <c:v>11.961516669812758</c:v>
                </c:pt>
                <c:pt idx="2">
                  <c:v>17.654900408409802</c:v>
                </c:pt>
                <c:pt idx="3">
                  <c:v>26.128242584944836</c:v>
                </c:pt>
                <c:pt idx="4">
                  <c:v>33.828438881032582</c:v>
                </c:pt>
                <c:pt idx="5">
                  <c:v>43.192762546543413</c:v>
                </c:pt>
                <c:pt idx="6">
                  <c:v>63.103373175356182</c:v>
                </c:pt>
                <c:pt idx="7">
                  <c:v>98.235218175214371</c:v>
                </c:pt>
                <c:pt idx="8">
                  <c:v>139.46565711850744</c:v>
                </c:pt>
                <c:pt idx="9">
                  <c:v>169.60271520175903</c:v>
                </c:pt>
                <c:pt idx="10">
                  <c:v>175.99950537902117</c:v>
                </c:pt>
                <c:pt idx="11">
                  <c:v>160.07486456931068</c:v>
                </c:pt>
                <c:pt idx="12">
                  <c:v>138.36064768751044</c:v>
                </c:pt>
                <c:pt idx="13">
                  <c:v>132.38229416094137</c:v>
                </c:pt>
                <c:pt idx="14">
                  <c:v>137.66084846135132</c:v>
                </c:pt>
                <c:pt idx="15">
                  <c:v>148.33218545819372</c:v>
                </c:pt>
                <c:pt idx="16">
                  <c:v>196.10009586648195</c:v>
                </c:pt>
                <c:pt idx="17">
                  <c:v>282.29564110092076</c:v>
                </c:pt>
                <c:pt idx="18">
                  <c:v>378.68156166473864</c:v>
                </c:pt>
                <c:pt idx="19">
                  <c:v>540.21374008646319</c:v>
                </c:pt>
                <c:pt idx="20">
                  <c:v>749.29258654944283</c:v>
                </c:pt>
                <c:pt idx="21">
                  <c:v>908.07246182910853</c:v>
                </c:pt>
                <c:pt idx="22">
                  <c:v>952.07564478532765</c:v>
                </c:pt>
                <c:pt idx="23">
                  <c:v>873.65484490543338</c:v>
                </c:pt>
                <c:pt idx="24">
                  <c:v>735.64650163933982</c:v>
                </c:pt>
                <c:pt idx="25">
                  <c:v>562.19008107703098</c:v>
                </c:pt>
                <c:pt idx="26">
                  <c:v>484.10114474768636</c:v>
                </c:pt>
                <c:pt idx="27">
                  <c:v>657.1054613425797</c:v>
                </c:pt>
                <c:pt idx="28">
                  <c:v>990.43113536135866</c:v>
                </c:pt>
                <c:pt idx="29">
                  <c:v>1538.6228271068696</c:v>
                </c:pt>
                <c:pt idx="30">
                  <c:v>2273.813617566288</c:v>
                </c:pt>
                <c:pt idx="31">
                  <c:v>2846.9660174489768</c:v>
                </c:pt>
                <c:pt idx="32">
                  <c:v>3050.79156009908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G$2:$G$34</c:f>
              <c:numCache>
                <c:formatCode>General</c:formatCode>
                <c:ptCount val="33"/>
                <c:pt idx="0">
                  <c:v>58.267703417791729</c:v>
                </c:pt>
                <c:pt idx="1">
                  <c:v>258.04843118674995</c:v>
                </c:pt>
                <c:pt idx="2">
                  <c:v>627.39317372283404</c:v>
                </c:pt>
                <c:pt idx="3">
                  <c:v>661.10261704883249</c:v>
                </c:pt>
                <c:pt idx="4">
                  <c:v>398.51018966732033</c:v>
                </c:pt>
                <c:pt idx="5">
                  <c:v>243.75006642219469</c:v>
                </c:pt>
                <c:pt idx="6">
                  <c:v>196.16161575543074</c:v>
                </c:pt>
                <c:pt idx="7">
                  <c:v>189.74487270922415</c:v>
                </c:pt>
                <c:pt idx="8">
                  <c:v>199.61413372389103</c:v>
                </c:pt>
                <c:pt idx="9">
                  <c:v>203.86515418422488</c:v>
                </c:pt>
                <c:pt idx="10">
                  <c:v>197.46564500474935</c:v>
                </c:pt>
                <c:pt idx="11">
                  <c:v>176.57819852667674</c:v>
                </c:pt>
                <c:pt idx="12">
                  <c:v>147.2576465948608</c:v>
                </c:pt>
                <c:pt idx="13">
                  <c:v>133.01672805274254</c:v>
                </c:pt>
                <c:pt idx="14">
                  <c:v>158.98816521648465</c:v>
                </c:pt>
                <c:pt idx="15">
                  <c:v>227.84895205164875</c:v>
                </c:pt>
                <c:pt idx="16">
                  <c:v>335.26189876424559</c:v>
                </c:pt>
                <c:pt idx="17">
                  <c:v>484.21420892099621</c:v>
                </c:pt>
                <c:pt idx="18">
                  <c:v>680.01965809731792</c:v>
                </c:pt>
                <c:pt idx="19">
                  <c:v>934.52940198195211</c:v>
                </c:pt>
                <c:pt idx="20">
                  <c:v>1382.8971681022956</c:v>
                </c:pt>
                <c:pt idx="21">
                  <c:v>1746.9109011962314</c:v>
                </c:pt>
                <c:pt idx="22">
                  <c:v>1776.8116599746604</c:v>
                </c:pt>
                <c:pt idx="23">
                  <c:v>1612.3488697599353</c:v>
                </c:pt>
                <c:pt idx="24">
                  <c:v>1310.8366266773937</c:v>
                </c:pt>
                <c:pt idx="25">
                  <c:v>1061.8704432579245</c:v>
                </c:pt>
                <c:pt idx="26">
                  <c:v>1067.729957946493</c:v>
                </c:pt>
                <c:pt idx="27">
                  <c:v>1594.1613957363986</c:v>
                </c:pt>
                <c:pt idx="28">
                  <c:v>2303.7945814999612</c:v>
                </c:pt>
                <c:pt idx="29">
                  <c:v>3115.6360862233332</c:v>
                </c:pt>
                <c:pt idx="30">
                  <c:v>4275.0387259346999</c:v>
                </c:pt>
                <c:pt idx="31">
                  <c:v>5706.0413607056926</c:v>
                </c:pt>
                <c:pt idx="32">
                  <c:v>8182.17460951648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J$2:$J$34</c:f>
              <c:numCache>
                <c:formatCode>General</c:formatCode>
                <c:ptCount val="33"/>
                <c:pt idx="0">
                  <c:v>3.859514921411582</c:v>
                </c:pt>
                <c:pt idx="1">
                  <c:v>3.106053305354441</c:v>
                </c:pt>
                <c:pt idx="2">
                  <c:v>3.1323981171046906</c:v>
                </c:pt>
                <c:pt idx="3">
                  <c:v>3.6013357662591354</c:v>
                </c:pt>
                <c:pt idx="4">
                  <c:v>4.3047422399908024</c:v>
                </c:pt>
                <c:pt idx="5">
                  <c:v>5.1056245171983941</c:v>
                </c:pt>
                <c:pt idx="6">
                  <c:v>6.1725893930835074</c:v>
                </c:pt>
                <c:pt idx="7">
                  <c:v>6.984009594991198</c:v>
                </c:pt>
                <c:pt idx="8">
                  <c:v>7.8033332404239637</c:v>
                </c:pt>
                <c:pt idx="9">
                  <c:v>10.261304176722261</c:v>
                </c:pt>
                <c:pt idx="10">
                  <c:v>14.579218822588187</c:v>
                </c:pt>
                <c:pt idx="11">
                  <c:v>20.103725846615554</c:v>
                </c:pt>
                <c:pt idx="12">
                  <c:v>25.654577682393167</c:v>
                </c:pt>
                <c:pt idx="13">
                  <c:v>34.917413493780963</c:v>
                </c:pt>
                <c:pt idx="14">
                  <c:v>51.772824051590725</c:v>
                </c:pt>
                <c:pt idx="15">
                  <c:v>77.917415232538531</c:v>
                </c:pt>
                <c:pt idx="16">
                  <c:v>138.51048225811286</c:v>
                </c:pt>
                <c:pt idx="17">
                  <c:v>234.55049349364819</c:v>
                </c:pt>
                <c:pt idx="18">
                  <c:v>357.38581276036246</c:v>
                </c:pt>
                <c:pt idx="19">
                  <c:v>484.39678468949137</c:v>
                </c:pt>
                <c:pt idx="20">
                  <c:v>648.62507217819791</c:v>
                </c:pt>
                <c:pt idx="21">
                  <c:v>808.64609323038974</c:v>
                </c:pt>
                <c:pt idx="22">
                  <c:v>861.25404781446332</c:v>
                </c:pt>
                <c:pt idx="23">
                  <c:v>839.44054368525667</c:v>
                </c:pt>
                <c:pt idx="24">
                  <c:v>747.58672303683602</c:v>
                </c:pt>
                <c:pt idx="25">
                  <c:v>567.08787981117507</c:v>
                </c:pt>
                <c:pt idx="26">
                  <c:v>435.78270356675557</c:v>
                </c:pt>
                <c:pt idx="27">
                  <c:v>437.6505507198483</c:v>
                </c:pt>
                <c:pt idx="28">
                  <c:v>499.61618243761063</c:v>
                </c:pt>
                <c:pt idx="29">
                  <c:v>859.74975906352415</c:v>
                </c:pt>
                <c:pt idx="30">
                  <c:v>1482.2513159101745</c:v>
                </c:pt>
                <c:pt idx="31">
                  <c:v>1777.1656765671701</c:v>
                </c:pt>
                <c:pt idx="32">
                  <c:v>1483.91630801279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B$2:$B$34</c:f>
              <c:numCache>
                <c:formatCode>General</c:formatCode>
                <c:ptCount val="33"/>
                <c:pt idx="0">
                  <c:v>14.739810881036243</c:v>
                </c:pt>
                <c:pt idx="1">
                  <c:v>19.390940229168109</c:v>
                </c:pt>
                <c:pt idx="2">
                  <c:v>36.916934874302669</c:v>
                </c:pt>
                <c:pt idx="3">
                  <c:v>53.094776085196109</c:v>
                </c:pt>
                <c:pt idx="4">
                  <c:v>64.980995530421978</c:v>
                </c:pt>
                <c:pt idx="5">
                  <c:v>77.72104548400057</c:v>
                </c:pt>
                <c:pt idx="6">
                  <c:v>107.49276715682528</c:v>
                </c:pt>
                <c:pt idx="7">
                  <c:v>156.90259052176233</c:v>
                </c:pt>
                <c:pt idx="8">
                  <c:v>196.61694377211535</c:v>
                </c:pt>
                <c:pt idx="9">
                  <c:v>233.02832110857759</c:v>
                </c:pt>
                <c:pt idx="10">
                  <c:v>284.97716677466872</c:v>
                </c:pt>
                <c:pt idx="11">
                  <c:v>312.42332377342757</c:v>
                </c:pt>
                <c:pt idx="12">
                  <c:v>286.62865473161412</c:v>
                </c:pt>
                <c:pt idx="13">
                  <c:v>273.67514715094734</c:v>
                </c:pt>
                <c:pt idx="14">
                  <c:v>285.13445134199691</c:v>
                </c:pt>
                <c:pt idx="15">
                  <c:v>316.19815338930272</c:v>
                </c:pt>
                <c:pt idx="16">
                  <c:v>440.599011533902</c:v>
                </c:pt>
                <c:pt idx="17">
                  <c:v>656.44961096785732</c:v>
                </c:pt>
                <c:pt idx="18">
                  <c:v>1023.2035181412019</c:v>
                </c:pt>
                <c:pt idx="19">
                  <c:v>1520.2339855100468</c:v>
                </c:pt>
                <c:pt idx="20">
                  <c:v>1978.5050416444597</c:v>
                </c:pt>
                <c:pt idx="21">
                  <c:v>2021.9268168389756</c:v>
                </c:pt>
                <c:pt idx="22">
                  <c:v>1500.4947723103664</c:v>
                </c:pt>
                <c:pt idx="23">
                  <c:v>901.0046439391964</c:v>
                </c:pt>
                <c:pt idx="24">
                  <c:v>541.33977690756967</c:v>
                </c:pt>
                <c:pt idx="25">
                  <c:v>376.41567345207272</c:v>
                </c:pt>
                <c:pt idx="26">
                  <c:v>424.29758959153651</c:v>
                </c:pt>
                <c:pt idx="27">
                  <c:v>961.32327550953471</c:v>
                </c:pt>
                <c:pt idx="28">
                  <c:v>1951.4520960640211</c:v>
                </c:pt>
                <c:pt idx="29">
                  <c:v>3226.9512948114971</c:v>
                </c:pt>
                <c:pt idx="30">
                  <c:v>4525.0095943586066</c:v>
                </c:pt>
                <c:pt idx="31">
                  <c:v>5128.454306136884</c:v>
                </c:pt>
                <c:pt idx="32">
                  <c:v>4990.66179054548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L$2:$L$34</c:f>
              <c:numCache>
                <c:formatCode>General</c:formatCode>
                <c:ptCount val="33"/>
                <c:pt idx="0">
                  <c:v>11.359736659317649</c:v>
                </c:pt>
                <c:pt idx="1">
                  <c:v>8.4831581826839866</c:v>
                </c:pt>
                <c:pt idx="2">
                  <c:v>8.2266480000542348</c:v>
                </c:pt>
                <c:pt idx="3">
                  <c:v>9.7657090958327544</c:v>
                </c:pt>
                <c:pt idx="4">
                  <c:v>13.485106743964177</c:v>
                </c:pt>
                <c:pt idx="5">
                  <c:v>15.390610957785205</c:v>
                </c:pt>
                <c:pt idx="6">
                  <c:v>18.13893434310399</c:v>
                </c:pt>
                <c:pt idx="7">
                  <c:v>22.811084098145926</c:v>
                </c:pt>
                <c:pt idx="8">
                  <c:v>27.446589541383613</c:v>
                </c:pt>
                <c:pt idx="9">
                  <c:v>46.373376588278987</c:v>
                </c:pt>
                <c:pt idx="10">
                  <c:v>87.579905212158664</c:v>
                </c:pt>
                <c:pt idx="11">
                  <c:v>146.48563643749131</c:v>
                </c:pt>
                <c:pt idx="12">
                  <c:v>210.4482826918105</c:v>
                </c:pt>
                <c:pt idx="13">
                  <c:v>280.75039488826508</c:v>
                </c:pt>
                <c:pt idx="14">
                  <c:v>361.09304851908428</c:v>
                </c:pt>
                <c:pt idx="15">
                  <c:v>446.89570460873676</c:v>
                </c:pt>
                <c:pt idx="16">
                  <c:v>657.98526275712175</c:v>
                </c:pt>
                <c:pt idx="17">
                  <c:v>1013.3984429465471</c:v>
                </c:pt>
                <c:pt idx="18">
                  <c:v>1392.5204928733226</c:v>
                </c:pt>
                <c:pt idx="19">
                  <c:v>1732.6713171962779</c:v>
                </c:pt>
                <c:pt idx="20">
                  <c:v>2083.7787907487036</c:v>
                </c:pt>
                <c:pt idx="21">
                  <c:v>2318.3573527636131</c:v>
                </c:pt>
                <c:pt idx="22">
                  <c:v>2299.8336531465648</c:v>
                </c:pt>
                <c:pt idx="23">
                  <c:v>1948.1765149170747</c:v>
                </c:pt>
                <c:pt idx="24">
                  <c:v>1393.9862653454927</c:v>
                </c:pt>
                <c:pt idx="25">
                  <c:v>936.39042168991477</c:v>
                </c:pt>
                <c:pt idx="26">
                  <c:v>731.10898696250354</c:v>
                </c:pt>
                <c:pt idx="27">
                  <c:v>704.6334716839325</c:v>
                </c:pt>
                <c:pt idx="28">
                  <c:v>667.86090478836718</c:v>
                </c:pt>
                <c:pt idx="29">
                  <c:v>1136.0103102435692</c:v>
                </c:pt>
                <c:pt idx="30">
                  <c:v>2559.3303471883646</c:v>
                </c:pt>
                <c:pt idx="31">
                  <c:v>3770.2599529157237</c:v>
                </c:pt>
                <c:pt idx="32">
                  <c:v>4474.28879345488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34</c:f>
              <c:numCache>
                <c:formatCode>General</c:formatCode>
                <c:ptCount val="33"/>
                <c:pt idx="0">
                  <c:v>229.00488867992797</c:v>
                </c:pt>
                <c:pt idx="1">
                  <c:v>451.09699624871757</c:v>
                </c:pt>
                <c:pt idx="2">
                  <c:v>656.72054368262866</c:v>
                </c:pt>
                <c:pt idx="3">
                  <c:v>763.18624616844522</c:v>
                </c:pt>
                <c:pt idx="4">
                  <c:v>723.1039468895591</c:v>
                </c:pt>
                <c:pt idx="5">
                  <c:v>582.83491378692929</c:v>
                </c:pt>
                <c:pt idx="6">
                  <c:v>441.76305158215007</c:v>
                </c:pt>
                <c:pt idx="7">
                  <c:v>334.82621517586165</c:v>
                </c:pt>
                <c:pt idx="8">
                  <c:v>253.1615938219681</c:v>
                </c:pt>
                <c:pt idx="9">
                  <c:v>180.93443983465608</c:v>
                </c:pt>
                <c:pt idx="10">
                  <c:v>120.63774884691557</c:v>
                </c:pt>
                <c:pt idx="11">
                  <c:v>86.263987025943678</c:v>
                </c:pt>
                <c:pt idx="12">
                  <c:v>67.790466843855285</c:v>
                </c:pt>
                <c:pt idx="13">
                  <c:v>55.828313221830513</c:v>
                </c:pt>
                <c:pt idx="14">
                  <c:v>47.280295992103881</c:v>
                </c:pt>
                <c:pt idx="15">
                  <c:v>44.030950836562717</c:v>
                </c:pt>
                <c:pt idx="16">
                  <c:v>48.188760502430739</c:v>
                </c:pt>
                <c:pt idx="17">
                  <c:v>53.958566497088029</c:v>
                </c:pt>
                <c:pt idx="18">
                  <c:v>61.707980040992453</c:v>
                </c:pt>
                <c:pt idx="19">
                  <c:v>87.117521124018211</c:v>
                </c:pt>
                <c:pt idx="20">
                  <c:v>138.89999821264891</c:v>
                </c:pt>
                <c:pt idx="21">
                  <c:v>209.8341748038678</c:v>
                </c:pt>
                <c:pt idx="22">
                  <c:v>311.93713493195202</c:v>
                </c:pt>
                <c:pt idx="23">
                  <c:v>428.07481539050434</c:v>
                </c:pt>
                <c:pt idx="24">
                  <c:v>717.74189357046703</c:v>
                </c:pt>
                <c:pt idx="25">
                  <c:v>1494.2846807488806</c:v>
                </c:pt>
                <c:pt idx="26">
                  <c:v>2627.1821792897385</c:v>
                </c:pt>
                <c:pt idx="27">
                  <c:v>3247.0232892694239</c:v>
                </c:pt>
                <c:pt idx="28">
                  <c:v>3465.587174205084</c:v>
                </c:pt>
                <c:pt idx="29">
                  <c:v>3493.0587184557353</c:v>
                </c:pt>
                <c:pt idx="30">
                  <c:v>2941.3904754975079</c:v>
                </c:pt>
                <c:pt idx="31">
                  <c:v>2064.0567199605753</c:v>
                </c:pt>
                <c:pt idx="32">
                  <c:v>1239.2913689491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7C73-43E6-B540-622F64279A4E}"/>
              </c:ext>
            </c:extLst>
          </c:dPt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H$2:$H$34</c:f>
              <c:numCache>
                <c:formatCode>General</c:formatCode>
                <c:ptCount val="33"/>
                <c:pt idx="0">
                  <c:v>460.01708819190543</c:v>
                </c:pt>
                <c:pt idx="1">
                  <c:v>623.85226958214719</c:v>
                </c:pt>
                <c:pt idx="2">
                  <c:v>843.11806504811796</c:v>
                </c:pt>
                <c:pt idx="3">
                  <c:v>831.69135970785021</c:v>
                </c:pt>
                <c:pt idx="4">
                  <c:v>604.66768791468178</c:v>
                </c:pt>
                <c:pt idx="5">
                  <c:v>561.1750937553312</c:v>
                </c:pt>
                <c:pt idx="6">
                  <c:v>595.86808160339672</c:v>
                </c:pt>
                <c:pt idx="7">
                  <c:v>656.86585352074542</c:v>
                </c:pt>
                <c:pt idx="8">
                  <c:v>705.04402866635212</c:v>
                </c:pt>
                <c:pt idx="9">
                  <c:v>746.70000437702913</c:v>
                </c:pt>
                <c:pt idx="10">
                  <c:v>730.59653381905866</c:v>
                </c:pt>
                <c:pt idx="11">
                  <c:v>650.4597283717718</c:v>
                </c:pt>
                <c:pt idx="12">
                  <c:v>672.42274642839061</c:v>
                </c:pt>
                <c:pt idx="13">
                  <c:v>701.53094489772923</c:v>
                </c:pt>
                <c:pt idx="14">
                  <c:v>731.09315544757999</c:v>
                </c:pt>
                <c:pt idx="15">
                  <c:v>855.8671356714309</c:v>
                </c:pt>
                <c:pt idx="16">
                  <c:v>934.44648867424257</c:v>
                </c:pt>
                <c:pt idx="17">
                  <c:v>882.43786209208213</c:v>
                </c:pt>
                <c:pt idx="18">
                  <c:v>768.57192615859367</c:v>
                </c:pt>
                <c:pt idx="19">
                  <c:v>759.59747377099484</c:v>
                </c:pt>
                <c:pt idx="20">
                  <c:v>845.40281839826798</c:v>
                </c:pt>
                <c:pt idx="21">
                  <c:v>882.04556039144541</c:v>
                </c:pt>
                <c:pt idx="22">
                  <c:v>944.94019184258423</c:v>
                </c:pt>
                <c:pt idx="23">
                  <c:v>1067.9480797661904</c:v>
                </c:pt>
                <c:pt idx="24">
                  <c:v>1563.7469032225351</c:v>
                </c:pt>
                <c:pt idx="25">
                  <c:v>2355.1325691031734</c:v>
                </c:pt>
                <c:pt idx="28">
                  <c:v>2756.9832163782053</c:v>
                </c:pt>
                <c:pt idx="29">
                  <c:v>2055.0849477907409</c:v>
                </c:pt>
                <c:pt idx="30">
                  <c:v>2008.6390711659235</c:v>
                </c:pt>
                <c:pt idx="31">
                  <c:v>1594.0452304466144</c:v>
                </c:pt>
                <c:pt idx="32">
                  <c:v>1429.5532742991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546608"/>
        <c:axId val="301529320"/>
      </c:lineChart>
      <c:catAx>
        <c:axId val="1154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1529320"/>
        <c:crosses val="autoZero"/>
        <c:auto val="1"/>
        <c:lblAlgn val="ctr"/>
        <c:lblOffset val="100"/>
        <c:tickLblSkip val="1"/>
        <c:noMultiLvlLbl val="1"/>
      </c:catAx>
      <c:valAx>
        <c:axId val="301529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546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573984053497943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I$2:$I$34</c:f>
              <c:numCache>
                <c:formatCode>General</c:formatCode>
                <c:ptCount val="33"/>
                <c:pt idx="0">
                  <c:v>35.322379634869002</c:v>
                </c:pt>
                <c:pt idx="1">
                  <c:v>65.203203488150081</c:v>
                </c:pt>
                <c:pt idx="2">
                  <c:v>82.803642284099553</c:v>
                </c:pt>
                <c:pt idx="3">
                  <c:v>90.154515883788505</c:v>
                </c:pt>
                <c:pt idx="4">
                  <c:v>97.921967916517687</c:v>
                </c:pt>
                <c:pt idx="5">
                  <c:v>106.24485785996715</c:v>
                </c:pt>
                <c:pt idx="6">
                  <c:v>115.87823412402236</c:v>
                </c:pt>
                <c:pt idx="7">
                  <c:v>120.03533973706958</c:v>
                </c:pt>
                <c:pt idx="8">
                  <c:v>122.5087741832459</c:v>
                </c:pt>
                <c:pt idx="9">
                  <c:v>119.42782952221926</c:v>
                </c:pt>
                <c:pt idx="10">
                  <c:v>119.41915080486424</c:v>
                </c:pt>
                <c:pt idx="11">
                  <c:v>125.6244337136926</c:v>
                </c:pt>
                <c:pt idx="12">
                  <c:v>118.43845574374872</c:v>
                </c:pt>
                <c:pt idx="13">
                  <c:v>115.56580029924218</c:v>
                </c:pt>
                <c:pt idx="14">
                  <c:v>129.50382037137967</c:v>
                </c:pt>
                <c:pt idx="15">
                  <c:v>198.4909446263118</c:v>
                </c:pt>
                <c:pt idx="16">
                  <c:v>347.14869420018675</c:v>
                </c:pt>
                <c:pt idx="17">
                  <c:v>475.79332155342098</c:v>
                </c:pt>
                <c:pt idx="18">
                  <c:v>501.88154592256501</c:v>
                </c:pt>
                <c:pt idx="19">
                  <c:v>639.53468189029411</c:v>
                </c:pt>
                <c:pt idx="20">
                  <c:v>980.94674391882279</c:v>
                </c:pt>
                <c:pt idx="21">
                  <c:v>1091.5569966083572</c:v>
                </c:pt>
                <c:pt idx="22">
                  <c:v>1018.1524052197277</c:v>
                </c:pt>
                <c:pt idx="23">
                  <c:v>771.30364749133003</c:v>
                </c:pt>
                <c:pt idx="24">
                  <c:v>495.67626301373667</c:v>
                </c:pt>
                <c:pt idx="25">
                  <c:v>391.83540986110586</c:v>
                </c:pt>
                <c:pt idx="26">
                  <c:v>675.69889710859854</c:v>
                </c:pt>
                <c:pt idx="27">
                  <c:v>1351.4151516519071</c:v>
                </c:pt>
                <c:pt idx="28">
                  <c:v>1723.8796643766423</c:v>
                </c:pt>
                <c:pt idx="29">
                  <c:v>3049.5884552230254</c:v>
                </c:pt>
                <c:pt idx="30">
                  <c:v>2763.4251078764564</c:v>
                </c:pt>
                <c:pt idx="31">
                  <c:v>1608.4093299683054</c:v>
                </c:pt>
                <c:pt idx="32">
                  <c:v>632.114378551765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C$2:$C$34</c:f>
              <c:numCache>
                <c:formatCode>General</c:formatCode>
                <c:ptCount val="33"/>
                <c:pt idx="0">
                  <c:v>9.5100598572705533</c:v>
                </c:pt>
                <c:pt idx="1">
                  <c:v>12.736186357524575</c:v>
                </c:pt>
                <c:pt idx="2">
                  <c:v>15.064608092490522</c:v>
                </c:pt>
                <c:pt idx="3">
                  <c:v>12.652026535778818</c:v>
                </c:pt>
                <c:pt idx="4">
                  <c:v>11.13714974435519</c:v>
                </c:pt>
                <c:pt idx="5">
                  <c:v>11.249362840016198</c:v>
                </c:pt>
                <c:pt idx="6">
                  <c:v>11.997450144422929</c:v>
                </c:pt>
                <c:pt idx="7">
                  <c:v>12.175120879219527</c:v>
                </c:pt>
                <c:pt idx="8">
                  <c:v>12.343440522711042</c:v>
                </c:pt>
                <c:pt idx="9">
                  <c:v>16.429867423032803</c:v>
                </c:pt>
                <c:pt idx="10">
                  <c:v>24.38764612365939</c:v>
                </c:pt>
                <c:pt idx="11">
                  <c:v>28.707850306608258</c:v>
                </c:pt>
                <c:pt idx="12">
                  <c:v>30.587419658930166</c:v>
                </c:pt>
                <c:pt idx="13">
                  <c:v>42.126666329403974</c:v>
                </c:pt>
                <c:pt idx="14">
                  <c:v>56.031739100064065</c:v>
                </c:pt>
                <c:pt idx="15">
                  <c:v>90.013604902739772</c:v>
                </c:pt>
                <c:pt idx="16">
                  <c:v>201.44120889412218</c:v>
                </c:pt>
                <c:pt idx="17">
                  <c:v>321.77105180794467</c:v>
                </c:pt>
                <c:pt idx="18">
                  <c:v>500.72288611333954</c:v>
                </c:pt>
                <c:pt idx="19">
                  <c:v>720.38002086976564</c:v>
                </c:pt>
                <c:pt idx="20">
                  <c:v>1005.0739956530517</c:v>
                </c:pt>
                <c:pt idx="21">
                  <c:v>1202.8402256642757</c:v>
                </c:pt>
                <c:pt idx="22">
                  <c:v>1069.9518671277253</c:v>
                </c:pt>
                <c:pt idx="23">
                  <c:v>852.83822920628211</c:v>
                </c:pt>
                <c:pt idx="24">
                  <c:v>639.79231600255059</c:v>
                </c:pt>
                <c:pt idx="25">
                  <c:v>380.14056373427979</c:v>
                </c:pt>
                <c:pt idx="26">
                  <c:v>335.48910275250307</c:v>
                </c:pt>
                <c:pt idx="27">
                  <c:v>439.1740031432758</c:v>
                </c:pt>
                <c:pt idx="28">
                  <c:v>679.41288986219195</c:v>
                </c:pt>
                <c:pt idx="29">
                  <c:v>1492.7334072131887</c:v>
                </c:pt>
                <c:pt idx="30">
                  <c:v>2328.5152458789976</c:v>
                </c:pt>
                <c:pt idx="31">
                  <c:v>2146.6645732690267</c:v>
                </c:pt>
                <c:pt idx="32">
                  <c:v>1489.2080457911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D$2:$D$34</c:f>
              <c:numCache>
                <c:formatCode>General</c:formatCode>
                <c:ptCount val="33"/>
                <c:pt idx="0">
                  <c:v>23.156491357662905</c:v>
                </c:pt>
                <c:pt idx="1">
                  <c:v>37.881637218751642</c:v>
                </c:pt>
                <c:pt idx="2">
                  <c:v>75.204749788681596</c:v>
                </c:pt>
                <c:pt idx="3">
                  <c:v>181.43435546909117</c:v>
                </c:pt>
                <c:pt idx="4">
                  <c:v>226.51293929300525</c:v>
                </c:pt>
                <c:pt idx="5">
                  <c:v>234.70215841256362</c:v>
                </c:pt>
                <c:pt idx="6">
                  <c:v>246.3687876461953</c:v>
                </c:pt>
                <c:pt idx="7">
                  <c:v>221.9437323255172</c:v>
                </c:pt>
                <c:pt idx="8">
                  <c:v>185.58615438785876</c:v>
                </c:pt>
                <c:pt idx="9">
                  <c:v>141.55777515627699</c:v>
                </c:pt>
                <c:pt idx="10">
                  <c:v>104.76496391514847</c:v>
                </c:pt>
                <c:pt idx="11">
                  <c:v>75.831604580710206</c:v>
                </c:pt>
                <c:pt idx="12">
                  <c:v>58.890185379084343</c:v>
                </c:pt>
                <c:pt idx="13">
                  <c:v>49.687897614588763</c:v>
                </c:pt>
                <c:pt idx="14">
                  <c:v>43.355475864783322</c:v>
                </c:pt>
                <c:pt idx="15">
                  <c:v>48.607984264340445</c:v>
                </c:pt>
                <c:pt idx="16">
                  <c:v>53.426744798323284</c:v>
                </c:pt>
                <c:pt idx="17">
                  <c:v>59.011991286540137</c:v>
                </c:pt>
                <c:pt idx="18">
                  <c:v>73.218719321993859</c:v>
                </c:pt>
                <c:pt idx="19">
                  <c:v>100.66366988483814</c:v>
                </c:pt>
                <c:pt idx="20">
                  <c:v>181.05408336776577</c:v>
                </c:pt>
                <c:pt idx="21">
                  <c:v>293.45122719154676</c:v>
                </c:pt>
                <c:pt idx="22">
                  <c:v>432.75410762199573</c:v>
                </c:pt>
                <c:pt idx="23">
                  <c:v>505.67722480272494</c:v>
                </c:pt>
                <c:pt idx="24">
                  <c:v>541.42428776520865</c:v>
                </c:pt>
                <c:pt idx="25">
                  <c:v>774.87422203161088</c:v>
                </c:pt>
                <c:pt idx="26">
                  <c:v>1701.8825370376112</c:v>
                </c:pt>
                <c:pt idx="27">
                  <c:v>2592.5020799101417</c:v>
                </c:pt>
                <c:pt idx="28">
                  <c:v>3004.6041444667972</c:v>
                </c:pt>
                <c:pt idx="29">
                  <c:v>3687.1405760195426</c:v>
                </c:pt>
                <c:pt idx="30">
                  <c:v>3564.0230269017552</c:v>
                </c:pt>
                <c:pt idx="31">
                  <c:v>2627.244986855063</c:v>
                </c:pt>
                <c:pt idx="32">
                  <c:v>1482.36749567173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F$2:$F$34</c:f>
              <c:numCache>
                <c:formatCode>General</c:formatCode>
                <c:ptCount val="33"/>
                <c:pt idx="0">
                  <c:v>9.4514744501344428</c:v>
                </c:pt>
                <c:pt idx="1">
                  <c:v>14.79004011435798</c:v>
                </c:pt>
                <c:pt idx="2">
                  <c:v>31.637372964269435</c:v>
                </c:pt>
                <c:pt idx="3">
                  <c:v>52.510426969897203</c:v>
                </c:pt>
                <c:pt idx="4">
                  <c:v>64.416568547048996</c:v>
                </c:pt>
                <c:pt idx="5">
                  <c:v>71.389902277421371</c:v>
                </c:pt>
                <c:pt idx="6">
                  <c:v>72.412680247011949</c:v>
                </c:pt>
                <c:pt idx="7">
                  <c:v>76.062823918813024</c:v>
                </c:pt>
                <c:pt idx="8">
                  <c:v>77.275067315557251</c:v>
                </c:pt>
                <c:pt idx="9">
                  <c:v>67.084174693964712</c:v>
                </c:pt>
                <c:pt idx="10">
                  <c:v>55.406062303475721</c:v>
                </c:pt>
                <c:pt idx="11">
                  <c:v>48.494765925357193</c:v>
                </c:pt>
                <c:pt idx="12">
                  <c:v>39.713965553642794</c:v>
                </c:pt>
                <c:pt idx="13">
                  <c:v>35.082961042152405</c:v>
                </c:pt>
                <c:pt idx="14">
                  <c:v>30.275904585076752</c:v>
                </c:pt>
                <c:pt idx="15">
                  <c:v>30.046198713217887</c:v>
                </c:pt>
                <c:pt idx="16">
                  <c:v>42.67666829506333</c:v>
                </c:pt>
                <c:pt idx="17">
                  <c:v>54.002676794381792</c:v>
                </c:pt>
                <c:pt idx="18">
                  <c:v>65.345452145660758</c:v>
                </c:pt>
                <c:pt idx="19">
                  <c:v>90.455489641707132</c:v>
                </c:pt>
                <c:pt idx="20">
                  <c:v>115.92433776970823</c:v>
                </c:pt>
                <c:pt idx="21">
                  <c:v>144.59062456657688</c:v>
                </c:pt>
                <c:pt idx="22">
                  <c:v>175.41983526635016</c:v>
                </c:pt>
                <c:pt idx="23">
                  <c:v>206.5894130609216</c:v>
                </c:pt>
                <c:pt idx="24">
                  <c:v>290.03971195353142</c:v>
                </c:pt>
                <c:pt idx="25">
                  <c:v>494.36224662939333</c:v>
                </c:pt>
                <c:pt idx="26">
                  <c:v>1360.5260821125053</c:v>
                </c:pt>
                <c:pt idx="27">
                  <c:v>1983.599067816685</c:v>
                </c:pt>
                <c:pt idx="28">
                  <c:v>1956.1634679537171</c:v>
                </c:pt>
                <c:pt idx="29">
                  <c:v>1871.9888410564135</c:v>
                </c:pt>
                <c:pt idx="30">
                  <c:v>1482.2836076792719</c:v>
                </c:pt>
                <c:pt idx="31">
                  <c:v>1025.6031841459087</c:v>
                </c:pt>
                <c:pt idx="32">
                  <c:v>447.557579381654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K$2:$K$34</c:f>
              <c:numCache>
                <c:formatCode>General</c:formatCode>
                <c:ptCount val="33"/>
                <c:pt idx="0">
                  <c:v>2.2519004504415054</c:v>
                </c:pt>
                <c:pt idx="1">
                  <c:v>2.8353473853286228</c:v>
                </c:pt>
                <c:pt idx="2">
                  <c:v>3.3266711199704058</c:v>
                </c:pt>
                <c:pt idx="3">
                  <c:v>4.0738926330714511</c:v>
                </c:pt>
                <c:pt idx="4">
                  <c:v>3.9305898771342638</c:v>
                </c:pt>
                <c:pt idx="5">
                  <c:v>3.7361075655052254</c:v>
                </c:pt>
                <c:pt idx="6">
                  <c:v>5.0463041912166471</c:v>
                </c:pt>
                <c:pt idx="7">
                  <c:v>6.3155571723745858</c:v>
                </c:pt>
                <c:pt idx="8">
                  <c:v>11.32091771903775</c:v>
                </c:pt>
                <c:pt idx="9">
                  <c:v>14.954666173159271</c:v>
                </c:pt>
                <c:pt idx="10">
                  <c:v>19.622241652256211</c:v>
                </c:pt>
                <c:pt idx="11">
                  <c:v>26.87950264936088</c:v>
                </c:pt>
                <c:pt idx="12">
                  <c:v>31.004574838124185</c:v>
                </c:pt>
                <c:pt idx="13">
                  <c:v>37.013054676347657</c:v>
                </c:pt>
                <c:pt idx="14">
                  <c:v>46.89070892487517</c:v>
                </c:pt>
                <c:pt idx="15">
                  <c:v>70.955336011184158</c:v>
                </c:pt>
                <c:pt idx="16">
                  <c:v>144.56177300720628</c:v>
                </c:pt>
                <c:pt idx="17">
                  <c:v>246.85946892408086</c:v>
                </c:pt>
                <c:pt idx="18">
                  <c:v>362.02370514188715</c:v>
                </c:pt>
                <c:pt idx="19">
                  <c:v>520.46537365272377</c:v>
                </c:pt>
                <c:pt idx="20">
                  <c:v>663.8295450567407</c:v>
                </c:pt>
                <c:pt idx="21">
                  <c:v>726.96464495820987</c:v>
                </c:pt>
                <c:pt idx="22">
                  <c:v>622.84495685870525</c:v>
                </c:pt>
                <c:pt idx="23">
                  <c:v>423.4698797055251</c:v>
                </c:pt>
                <c:pt idx="24">
                  <c:v>301.5601780475327</c:v>
                </c:pt>
                <c:pt idx="25">
                  <c:v>173.18138055009015</c:v>
                </c:pt>
                <c:pt idx="26">
                  <c:v>173.60105290676333</c:v>
                </c:pt>
                <c:pt idx="27">
                  <c:v>361.64497642976738</c:v>
                </c:pt>
                <c:pt idx="28">
                  <c:v>518.12135000203693</c:v>
                </c:pt>
                <c:pt idx="29">
                  <c:v>953.51606618376354</c:v>
                </c:pt>
                <c:pt idx="30">
                  <c:v>1146.6165298091228</c:v>
                </c:pt>
                <c:pt idx="31">
                  <c:v>994.52112620407581</c:v>
                </c:pt>
                <c:pt idx="32">
                  <c:v>680.810921635297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E$2:$E$34</c:f>
              <c:numCache>
                <c:formatCode>General</c:formatCode>
                <c:ptCount val="33"/>
                <c:pt idx="0">
                  <c:v>5.25210140869945</c:v>
                </c:pt>
                <c:pt idx="1">
                  <c:v>6.7094152611133069</c:v>
                </c:pt>
                <c:pt idx="2">
                  <c:v>10.945485147296495</c:v>
                </c:pt>
                <c:pt idx="3">
                  <c:v>15.182757437648341</c:v>
                </c:pt>
                <c:pt idx="4">
                  <c:v>18.645681443384241</c:v>
                </c:pt>
                <c:pt idx="5">
                  <c:v>24.547081103159172</c:v>
                </c:pt>
                <c:pt idx="6">
                  <c:v>38.55629207219701</c:v>
                </c:pt>
                <c:pt idx="7">
                  <c:v>59.678926103017353</c:v>
                </c:pt>
                <c:pt idx="8">
                  <c:v>79.786731015490091</c:v>
                </c:pt>
                <c:pt idx="9">
                  <c:v>89.815984186268949</c:v>
                </c:pt>
                <c:pt idx="10">
                  <c:v>86.183521192752238</c:v>
                </c:pt>
                <c:pt idx="11">
                  <c:v>73.891343376558439</c:v>
                </c:pt>
                <c:pt idx="12">
                  <c:v>64.469304310952012</c:v>
                </c:pt>
                <c:pt idx="13">
                  <c:v>67.912989849989373</c:v>
                </c:pt>
                <c:pt idx="14">
                  <c:v>69.747858611361934</c:v>
                </c:pt>
                <c:pt idx="15">
                  <c:v>78.584326846831786</c:v>
                </c:pt>
                <c:pt idx="16">
                  <c:v>117.51576901965018</c:v>
                </c:pt>
                <c:pt idx="17">
                  <c:v>164.77987208127061</c:v>
                </c:pt>
                <c:pt idx="18">
                  <c:v>213.90168958346808</c:v>
                </c:pt>
                <c:pt idx="19">
                  <c:v>326.31205050299508</c:v>
                </c:pt>
                <c:pt idx="20">
                  <c:v>422.98053604644775</c:v>
                </c:pt>
                <c:pt idx="21">
                  <c:v>485.09192578266078</c:v>
                </c:pt>
                <c:pt idx="22">
                  <c:v>466.98371900266687</c:v>
                </c:pt>
                <c:pt idx="23">
                  <c:v>406.67112590276656</c:v>
                </c:pt>
                <c:pt idx="24">
                  <c:v>328.97537573657326</c:v>
                </c:pt>
                <c:pt idx="25">
                  <c:v>233.2147053404577</c:v>
                </c:pt>
                <c:pt idx="26">
                  <c:v>250.88643940722869</c:v>
                </c:pt>
                <c:pt idx="27">
                  <c:v>406.21902193535107</c:v>
                </c:pt>
                <c:pt idx="28">
                  <c:v>584.2121134260077</c:v>
                </c:pt>
                <c:pt idx="29">
                  <c:v>954.41071368086216</c:v>
                </c:pt>
                <c:pt idx="30">
                  <c:v>1319.402903885426</c:v>
                </c:pt>
                <c:pt idx="31">
                  <c:v>1527.5631135635508</c:v>
                </c:pt>
                <c:pt idx="32">
                  <c:v>1523.22844653553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G$2:$G$34</c:f>
              <c:numCache>
                <c:formatCode>General</c:formatCode>
                <c:ptCount val="33"/>
                <c:pt idx="0">
                  <c:v>33.393489102595218</c:v>
                </c:pt>
                <c:pt idx="1">
                  <c:v>224.6549420841547</c:v>
                </c:pt>
                <c:pt idx="2">
                  <c:v>402.73823163867939</c:v>
                </c:pt>
                <c:pt idx="3">
                  <c:v>258.36438541015309</c:v>
                </c:pt>
                <c:pt idx="4">
                  <c:v>140.14580425716721</c:v>
                </c:pt>
                <c:pt idx="5">
                  <c:v>103.60426216502749</c:v>
                </c:pt>
                <c:pt idx="6">
                  <c:v>92.557353590403252</c:v>
                </c:pt>
                <c:pt idx="7">
                  <c:v>97.187519118820902</c:v>
                </c:pt>
                <c:pt idx="8">
                  <c:v>102.42661460507016</c:v>
                </c:pt>
                <c:pt idx="9">
                  <c:v>101.43853957915471</c:v>
                </c:pt>
                <c:pt idx="10">
                  <c:v>96.027105425594641</c:v>
                </c:pt>
                <c:pt idx="11">
                  <c:v>80.551093101082088</c:v>
                </c:pt>
                <c:pt idx="12">
                  <c:v>66.706553493778728</c:v>
                </c:pt>
                <c:pt idx="13">
                  <c:v>66.310174558963809</c:v>
                </c:pt>
                <c:pt idx="14">
                  <c:v>92.677990657520837</c:v>
                </c:pt>
                <c:pt idx="15">
                  <c:v>135.17096139412791</c:v>
                </c:pt>
                <c:pt idx="16">
                  <c:v>200.09093737011767</c:v>
                </c:pt>
                <c:pt idx="17">
                  <c:v>284.12327155087854</c:v>
                </c:pt>
                <c:pt idx="18">
                  <c:v>395.89638654643937</c:v>
                </c:pt>
                <c:pt idx="19">
                  <c:v>538.63301543551279</c:v>
                </c:pt>
                <c:pt idx="20">
                  <c:v>844.26415266678282</c:v>
                </c:pt>
                <c:pt idx="21">
                  <c:v>902.64674852944847</c:v>
                </c:pt>
                <c:pt idx="22">
                  <c:v>874.16491144521206</c:v>
                </c:pt>
                <c:pt idx="23">
                  <c:v>738.1839583147231</c:v>
                </c:pt>
                <c:pt idx="24">
                  <c:v>572.65266836267062</c:v>
                </c:pt>
                <c:pt idx="25">
                  <c:v>489.21777489525397</c:v>
                </c:pt>
                <c:pt idx="26">
                  <c:v>578.51218305123882</c:v>
                </c:pt>
                <c:pt idx="27">
                  <c:v>1015.64921268516</c:v>
                </c:pt>
                <c:pt idx="28">
                  <c:v>1288.1453688148013</c:v>
                </c:pt>
                <c:pt idx="29">
                  <c:v>1827.490717408532</c:v>
                </c:pt>
                <c:pt idx="30">
                  <c:v>2447.5480085261684</c:v>
                </c:pt>
                <c:pt idx="31">
                  <c:v>3258.4933521795242</c:v>
                </c:pt>
                <c:pt idx="32">
                  <c:v>4923.68125733695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J$2:$J$34</c:f>
              <c:numCache>
                <c:formatCode>General</c:formatCode>
                <c:ptCount val="33"/>
                <c:pt idx="0">
                  <c:v>1.630743847340457</c:v>
                </c:pt>
                <c:pt idx="1">
                  <c:v>1.4753094580139838</c:v>
                </c:pt>
                <c:pt idx="2">
                  <c:v>1.6570886590907066</c:v>
                </c:pt>
                <c:pt idx="3">
                  <c:v>1.9442471071684286</c:v>
                </c:pt>
                <c:pt idx="4">
                  <c:v>2.3604951328223742</c:v>
                </c:pt>
                <c:pt idx="5">
                  <c:v>2.7451293843760198</c:v>
                </c:pt>
                <c:pt idx="6">
                  <c:v>3.4274600087074871</c:v>
                </c:pt>
                <c:pt idx="7">
                  <c:v>3.5565495862837109</c:v>
                </c:pt>
                <c:pt idx="8">
                  <c:v>4.2467836541402537</c:v>
                </c:pt>
                <c:pt idx="9">
                  <c:v>6.014520522582008</c:v>
                </c:pt>
                <c:pt idx="10">
                  <c:v>8.5646983000061798</c:v>
                </c:pt>
                <c:pt idx="11">
                  <c:v>11.539027546609372</c:v>
                </c:pt>
                <c:pt idx="12">
                  <c:v>14.115550135783794</c:v>
                </c:pt>
                <c:pt idx="13">
                  <c:v>20.801863357997171</c:v>
                </c:pt>
                <c:pt idx="14">
                  <c:v>30.970960693593558</c:v>
                </c:pt>
                <c:pt idx="15">
                  <c:v>46.946454538944984</c:v>
                </c:pt>
                <c:pt idx="16">
                  <c:v>91.564027719167896</c:v>
                </c:pt>
                <c:pt idx="17">
                  <c:v>142.98646577448031</c:v>
                </c:pt>
                <c:pt idx="18">
                  <c:v>214.39934698588218</c:v>
                </c:pt>
                <c:pt idx="19">
                  <c:v>269.99743770360914</c:v>
                </c:pt>
                <c:pt idx="20">
                  <c:v>378.62763447458883</c:v>
                </c:pt>
                <c:pt idx="21">
                  <c:v>430.01845875580096</c:v>
                </c:pt>
                <c:pt idx="22">
                  <c:v>431.23558905866247</c:v>
                </c:pt>
                <c:pt idx="23">
                  <c:v>408.2049546265942</c:v>
                </c:pt>
                <c:pt idx="24">
                  <c:v>339.38176841024182</c:v>
                </c:pt>
                <c:pt idx="25">
                  <c:v>227.70611140093331</c:v>
                </c:pt>
                <c:pt idx="26">
                  <c:v>208.07659216582223</c:v>
                </c:pt>
                <c:pt idx="27">
                  <c:v>229.57395855402601</c:v>
                </c:pt>
                <c:pt idx="28">
                  <c:v>270.0422238835846</c:v>
                </c:pt>
                <c:pt idx="29">
                  <c:v>589.70753517993955</c:v>
                </c:pt>
                <c:pt idx="30">
                  <c:v>892.54378073023497</c:v>
                </c:pt>
                <c:pt idx="31">
                  <c:v>884.62189583693487</c:v>
                </c:pt>
                <c:pt idx="32">
                  <c:v>599.294412175855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B$2:$B$34</c:f>
              <c:numCache>
                <c:formatCode>General</c:formatCode>
                <c:ptCount val="33"/>
                <c:pt idx="0">
                  <c:v>7.1115093656219077</c:v>
                </c:pt>
                <c:pt idx="1">
                  <c:v>12.279430863546201</c:v>
                </c:pt>
                <c:pt idx="2">
                  <c:v>24.637504010756469</c:v>
                </c:pt>
                <c:pt idx="3">
                  <c:v>28.457272074439636</c:v>
                </c:pt>
                <c:pt idx="4">
                  <c:v>36.523723455982342</c:v>
                </c:pt>
                <c:pt idx="5">
                  <c:v>41.19732202801822</c:v>
                </c:pt>
                <c:pt idx="6">
                  <c:v>66.295445128807074</c:v>
                </c:pt>
                <c:pt idx="7">
                  <c:v>90.607145392955275</c:v>
                </c:pt>
                <c:pt idx="8">
                  <c:v>106.00979837916006</c:v>
                </c:pt>
                <c:pt idx="9">
                  <c:v>127.01852272941751</c:v>
                </c:pt>
                <c:pt idx="10">
                  <c:v>157.95864404525122</c:v>
                </c:pt>
                <c:pt idx="11">
                  <c:v>154.46467972817632</c:v>
                </c:pt>
                <c:pt idx="12">
                  <c:v>132.16397500343777</c:v>
                </c:pt>
                <c:pt idx="13">
                  <c:v>141.51117214750954</c:v>
                </c:pt>
                <c:pt idx="14">
                  <c:v>143.62327919448731</c:v>
                </c:pt>
                <c:pt idx="15">
                  <c:v>172.57487419481535</c:v>
                </c:pt>
                <c:pt idx="16">
                  <c:v>268.02413733908668</c:v>
                </c:pt>
                <c:pt idx="17">
                  <c:v>388.4254736287707</c:v>
                </c:pt>
                <c:pt idx="18">
                  <c:v>634.77804451243128</c:v>
                </c:pt>
                <c:pt idx="19">
                  <c:v>885.45594099761547</c:v>
                </c:pt>
                <c:pt idx="20">
                  <c:v>1093.0491006468442</c:v>
                </c:pt>
                <c:pt idx="21">
                  <c:v>928.87771619213163</c:v>
                </c:pt>
                <c:pt idx="22">
                  <c:v>571.61705611823481</c:v>
                </c:pt>
                <c:pt idx="23">
                  <c:v>329.38758782096164</c:v>
                </c:pt>
                <c:pt idx="24">
                  <c:v>211.95218908660806</c:v>
                </c:pt>
                <c:pt idx="25">
                  <c:v>164.46348436546461</c:v>
                </c:pt>
                <c:pt idx="26">
                  <c:v>259.83410522607187</c:v>
                </c:pt>
                <c:pt idx="27">
                  <c:v>701.48917028346273</c:v>
                </c:pt>
                <c:pt idx="28">
                  <c:v>1249.9629257805584</c:v>
                </c:pt>
                <c:pt idx="29">
                  <c:v>1976.9883690309384</c:v>
                </c:pt>
                <c:pt idx="30">
                  <c:v>2548.0212253276686</c:v>
                </c:pt>
                <c:pt idx="31">
                  <c:v>2580.4330808092154</c:v>
                </c:pt>
                <c:pt idx="32">
                  <c:v>2410.22870973627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L$2:$L$34</c:f>
              <c:numCache>
                <c:formatCode>General</c:formatCode>
                <c:ptCount val="33"/>
                <c:pt idx="0">
                  <c:v>4.1957737015866803</c:v>
                </c:pt>
                <c:pt idx="1">
                  <c:v>4.2873844810973063</c:v>
                </c:pt>
                <c:pt idx="2">
                  <c:v>3.9392635189569267</c:v>
                </c:pt>
                <c:pt idx="3">
                  <c:v>5.8264455768758268</c:v>
                </c:pt>
                <c:pt idx="4">
                  <c:v>7.6586611670883515</c:v>
                </c:pt>
                <c:pt idx="5">
                  <c:v>7.7319497906968531</c:v>
                </c:pt>
                <c:pt idx="6">
                  <c:v>10.406984552407136</c:v>
                </c:pt>
                <c:pt idx="7">
                  <c:v>12.40409954573879</c:v>
                </c:pt>
                <c:pt idx="8">
                  <c:v>15.042489995644823</c:v>
                </c:pt>
                <c:pt idx="9">
                  <c:v>31.330886592634162</c:v>
                </c:pt>
                <c:pt idx="10">
                  <c:v>56.249018619524492</c:v>
                </c:pt>
                <c:pt idx="11">
                  <c:v>90.236617817966817</c:v>
                </c:pt>
                <c:pt idx="12">
                  <c:v>120.21166487384372</c:v>
                </c:pt>
                <c:pt idx="13">
                  <c:v>160.53873001442136</c:v>
                </c:pt>
                <c:pt idx="14">
                  <c:v>200.55431850466289</c:v>
                </c:pt>
                <c:pt idx="15">
                  <c:v>246.34138610407391</c:v>
                </c:pt>
                <c:pt idx="16">
                  <c:v>411.64387665304781</c:v>
                </c:pt>
                <c:pt idx="17">
                  <c:v>601.75456629349935</c:v>
                </c:pt>
                <c:pt idx="18">
                  <c:v>790.76592657982337</c:v>
                </c:pt>
                <c:pt idx="19">
                  <c:v>941.9053906164545</c:v>
                </c:pt>
                <c:pt idx="20">
                  <c:v>1141.8734001322493</c:v>
                </c:pt>
                <c:pt idx="21">
                  <c:v>1176.483952631364</c:v>
                </c:pt>
                <c:pt idx="22">
                  <c:v>1123.3497005152008</c:v>
                </c:pt>
                <c:pt idx="23">
                  <c:v>824.82681440187412</c:v>
                </c:pt>
                <c:pt idx="24">
                  <c:v>569.15945094361859</c:v>
                </c:pt>
                <c:pt idx="25">
                  <c:v>367.23097074629624</c:v>
                </c:pt>
                <c:pt idx="26">
                  <c:v>363.8780162162073</c:v>
                </c:pt>
                <c:pt idx="27">
                  <c:v>340.75545546772526</c:v>
                </c:pt>
                <c:pt idx="28">
                  <c:v>327.10544932064192</c:v>
                </c:pt>
                <c:pt idx="29">
                  <c:v>808.90486092292724</c:v>
                </c:pt>
                <c:pt idx="30">
                  <c:v>1750.4254862654373</c:v>
                </c:pt>
                <c:pt idx="31">
                  <c:v>2019.8344666502867</c:v>
                </c:pt>
                <c:pt idx="32">
                  <c:v>2454.4543268045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34</c:f>
              <c:numCache>
                <c:formatCode>General</c:formatCode>
                <c:ptCount val="33"/>
                <c:pt idx="0">
                  <c:v>166.29125955308533</c:v>
                </c:pt>
                <c:pt idx="1">
                  <c:v>284.80573669563233</c:v>
                </c:pt>
                <c:pt idx="2">
                  <c:v>371.91480698699633</c:v>
                </c:pt>
                <c:pt idx="3">
                  <c:v>391.27143918144901</c:v>
                </c:pt>
                <c:pt idx="4">
                  <c:v>331.83250770811009</c:v>
                </c:pt>
                <c:pt idx="5">
                  <c:v>251.00240607881912</c:v>
                </c:pt>
                <c:pt idx="6">
                  <c:v>190.76064550333095</c:v>
                </c:pt>
                <c:pt idx="7">
                  <c:v>144.06556967253067</c:v>
                </c:pt>
                <c:pt idx="8">
                  <c:v>109.09602414943741</c:v>
                </c:pt>
                <c:pt idx="9">
                  <c:v>71.838415685218649</c:v>
                </c:pt>
                <c:pt idx="10">
                  <c:v>48.799333161696921</c:v>
                </c:pt>
                <c:pt idx="11">
                  <c:v>37.464653864246756</c:v>
                </c:pt>
                <c:pt idx="12">
                  <c:v>30.325812979608521</c:v>
                </c:pt>
                <c:pt idx="13">
                  <c:v>25.502500242221991</c:v>
                </c:pt>
                <c:pt idx="14">
                  <c:v>21.777795749881889</c:v>
                </c:pt>
                <c:pt idx="15">
                  <c:v>22.253155086680824</c:v>
                </c:pt>
                <c:pt idx="16">
                  <c:v>25.935605415749908</c:v>
                </c:pt>
                <c:pt idx="17">
                  <c:v>28.022961081338121</c:v>
                </c:pt>
                <c:pt idx="18">
                  <c:v>33.685018959654329</c:v>
                </c:pt>
                <c:pt idx="19">
                  <c:v>53.432502164363882</c:v>
                </c:pt>
                <c:pt idx="20">
                  <c:v>85.467496048285014</c:v>
                </c:pt>
                <c:pt idx="21">
                  <c:v>124.36667875558278</c:v>
                </c:pt>
                <c:pt idx="22">
                  <c:v>187.57045617636922</c:v>
                </c:pt>
                <c:pt idx="23">
                  <c:v>240.50435921413512</c:v>
                </c:pt>
                <c:pt idx="24">
                  <c:v>477.23753435633199</c:v>
                </c:pt>
                <c:pt idx="25">
                  <c:v>1017.0471463925487</c:v>
                </c:pt>
                <c:pt idx="26">
                  <c:v>1610.1350328971903</c:v>
                </c:pt>
                <c:pt idx="27">
                  <c:v>1636.8882563722341</c:v>
                </c:pt>
                <c:pt idx="28">
                  <c:v>1828.6989178328497</c:v>
                </c:pt>
                <c:pt idx="29">
                  <c:v>1664.3598006228856</c:v>
                </c:pt>
                <c:pt idx="30">
                  <c:v>1277.0306748746223</c:v>
                </c:pt>
                <c:pt idx="31">
                  <c:v>787.02604508595277</c:v>
                </c:pt>
                <c:pt idx="32">
                  <c:v>452.265323863161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7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A50C-414A-BE02-F1C320178424}"/>
              </c:ext>
            </c:extLst>
          </c:dPt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H$2:$H$34</c:f>
              <c:numCache>
                <c:formatCode>General</c:formatCode>
                <c:ptCount val="33"/>
                <c:pt idx="0">
                  <c:v>278.56506264198623</c:v>
                </c:pt>
                <c:pt idx="1">
                  <c:v>345.2872069401609</c:v>
                </c:pt>
                <c:pt idx="2">
                  <c:v>497.83085810795717</c:v>
                </c:pt>
                <c:pt idx="3">
                  <c:v>333.86050159989304</c:v>
                </c:pt>
                <c:pt idx="4">
                  <c:v>270.80718631478879</c:v>
                </c:pt>
                <c:pt idx="5">
                  <c:v>290.36790744054247</c:v>
                </c:pt>
                <c:pt idx="6">
                  <c:v>305.50017416285425</c:v>
                </c:pt>
                <c:pt idx="7">
                  <c:v>351.36567935789117</c:v>
                </c:pt>
                <c:pt idx="8">
                  <c:v>353.67834930846101</c:v>
                </c:pt>
                <c:pt idx="9">
                  <c:v>393.02165506856812</c:v>
                </c:pt>
                <c:pt idx="10">
                  <c:v>337.5748787504906</c:v>
                </c:pt>
                <c:pt idx="11">
                  <c:v>312.88484962128121</c:v>
                </c:pt>
                <c:pt idx="12">
                  <c:v>359.53789680710935</c:v>
                </c:pt>
                <c:pt idx="13">
                  <c:v>341.99304809061988</c:v>
                </c:pt>
                <c:pt idx="14">
                  <c:v>389.10010735696017</c:v>
                </c:pt>
                <c:pt idx="15">
                  <c:v>466.76702831447079</c:v>
                </c:pt>
                <c:pt idx="16">
                  <c:v>467.67946035977184</c:v>
                </c:pt>
                <c:pt idx="17">
                  <c:v>414.75840173231023</c:v>
                </c:pt>
                <c:pt idx="18">
                  <c:v>353.81352442628338</c:v>
                </c:pt>
                <c:pt idx="19">
                  <c:v>405.78394934471146</c:v>
                </c:pt>
                <c:pt idx="20">
                  <c:v>439.61886905355658</c:v>
                </c:pt>
                <c:pt idx="21">
                  <c:v>442.42669133788888</c:v>
                </c:pt>
                <c:pt idx="22">
                  <c:v>502.5135005046954</c:v>
                </c:pt>
                <c:pt idx="23">
                  <c:v>565.43457926149506</c:v>
                </c:pt>
                <c:pt idx="24">
                  <c:v>998.31232396103997</c:v>
                </c:pt>
                <c:pt idx="25">
                  <c:v>1356.8202451421332</c:v>
                </c:pt>
                <c:pt idx="27">
                  <c:v>1745.714651232842</c:v>
                </c:pt>
                <c:pt idx="28">
                  <c:v>1011.2685651453633</c:v>
                </c:pt>
                <c:pt idx="29">
                  <c:v>1043.8163826453779</c:v>
                </c:pt>
                <c:pt idx="30">
                  <c:v>964.82268852054551</c:v>
                </c:pt>
                <c:pt idx="31">
                  <c:v>629.22254192606886</c:v>
                </c:pt>
                <c:pt idx="32">
                  <c:v>800.330732373058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4363240"/>
        <c:axId val="354365200"/>
      </c:lineChart>
      <c:catAx>
        <c:axId val="354363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200"/>
        <c:crosses val="autoZero"/>
        <c:auto val="1"/>
        <c:lblAlgn val="ctr"/>
        <c:lblOffset val="100"/>
        <c:tickLblSkip val="1"/>
        <c:noMultiLvlLbl val="1"/>
      </c:catAx>
      <c:valAx>
        <c:axId val="3543652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3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8.196552666510501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% změna 4. vs. 3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13-493D-97B1-A5AA545BC17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813-493D-97B1-A5AA545BC174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813-493D-97B1-A5AA545BC174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813-493D-97B1-A5AA545BC174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C9C-4C43-B6C0-8405007F8E99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C9C-4C43-B6C0-8405007F8E99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A68-4805-8D52-B9B59E53E580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A68-4805-8D52-B9B59E53E580}"/>
              </c:ext>
            </c:extLst>
          </c:dPt>
          <c:cat>
            <c:strRef>
              <c:f>List1!$A$2:$A$32</c:f>
              <c:strCache>
                <c:ptCount val="31"/>
                <c:pt idx="0">
                  <c:v>Nizozemsko</c:v>
                </c:pt>
                <c:pt idx="1">
                  <c:v>Island</c:v>
                </c:pt>
                <c:pt idx="2">
                  <c:v>Velká Británie</c:v>
                </c:pt>
                <c:pt idx="3">
                  <c:v>Slovensko</c:v>
                </c:pt>
                <c:pt idx="4">
                  <c:v>Lotyšsko</c:v>
                </c:pt>
                <c:pt idx="5">
                  <c:v>Dánsko</c:v>
                </c:pt>
                <c:pt idx="6">
                  <c:v>Norsko</c:v>
                </c:pt>
                <c:pt idx="7">
                  <c:v>Řecko</c:v>
                </c:pt>
                <c:pt idx="8">
                  <c:v>Německo</c:v>
                </c:pt>
                <c:pt idx="9">
                  <c:v>Lichtenštejnsko</c:v>
                </c:pt>
                <c:pt idx="10">
                  <c:v>Finsko</c:v>
                </c:pt>
                <c:pt idx="11">
                  <c:v>Rakousko</c:v>
                </c:pt>
                <c:pt idx="12">
                  <c:v>Irsko</c:v>
                </c:pt>
                <c:pt idx="13">
                  <c:v>Kypr</c:v>
                </c:pt>
                <c:pt idx="14">
                  <c:v>Estonsko</c:v>
                </c:pt>
                <c:pt idx="15">
                  <c:v>Bulharsko</c:v>
                </c:pt>
                <c:pt idx="16">
                  <c:v>Rumunsko</c:v>
                </c:pt>
                <c:pt idx="17">
                  <c:v>Chorvatsko</c:v>
                </c:pt>
                <c:pt idx="18">
                  <c:v>Česká republika</c:v>
                </c:pt>
                <c:pt idx="19">
                  <c:v>Maďarsko</c:v>
                </c:pt>
                <c:pt idx="20">
                  <c:v>Polsko</c:v>
                </c:pt>
                <c:pt idx="21">
                  <c:v>Malta</c:v>
                </c:pt>
                <c:pt idx="22">
                  <c:v>Španělsko</c:v>
                </c:pt>
                <c:pt idx="23">
                  <c:v>Slovinsko</c:v>
                </c:pt>
                <c:pt idx="24">
                  <c:v>Francie</c:v>
                </c:pt>
                <c:pt idx="25">
                  <c:v>Portugalsko</c:v>
                </c:pt>
                <c:pt idx="26">
                  <c:v>Lucembursko</c:v>
                </c:pt>
                <c:pt idx="27">
                  <c:v>Litva</c:v>
                </c:pt>
                <c:pt idx="28">
                  <c:v>Itálie</c:v>
                </c:pt>
                <c:pt idx="29">
                  <c:v>Belgie</c:v>
                </c:pt>
                <c:pt idx="30">
                  <c:v>Švédsko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1.3392943587680197</c:v>
                </c:pt>
                <c:pt idx="1">
                  <c:v>0.93052461008709741</c:v>
                </c:pt>
                <c:pt idx="2">
                  <c:v>0.92432223191914642</c:v>
                </c:pt>
                <c:pt idx="3">
                  <c:v>2.163944823212304</c:v>
                </c:pt>
                <c:pt idx="4">
                  <c:v>1.6835606514001322</c:v>
                </c:pt>
                <c:pt idx="5">
                  <c:v>1.1838711008262479</c:v>
                </c:pt>
                <c:pt idx="6">
                  <c:v>1.133818321850435</c:v>
                </c:pt>
                <c:pt idx="7">
                  <c:v>0.96438904627006605</c:v>
                </c:pt>
                <c:pt idx="8">
                  <c:v>1.382426752940465</c:v>
                </c:pt>
                <c:pt idx="9">
                  <c:v>1.2232620320855614</c:v>
                </c:pt>
                <c:pt idx="10">
                  <c:v>0.79621335141597815</c:v>
                </c:pt>
                <c:pt idx="11">
                  <c:v>1.2888397651912509</c:v>
                </c:pt>
                <c:pt idx="12">
                  <c:v>0.78080934108618372</c:v>
                </c:pt>
                <c:pt idx="13">
                  <c:v>1.1310826229948319</c:v>
                </c:pt>
                <c:pt idx="14">
                  <c:v>1.5066559096409842</c:v>
                </c:pt>
                <c:pt idx="15">
                  <c:v>1.045290100081147</c:v>
                </c:pt>
                <c:pt idx="16">
                  <c:v>1.5620051846143068</c:v>
                </c:pt>
                <c:pt idx="17">
                  <c:v>0.98384905660377353</c:v>
                </c:pt>
                <c:pt idx="18">
                  <c:v>1.5599002706224316</c:v>
                </c:pt>
                <c:pt idx="19">
                  <c:v>1.2025141164093867</c:v>
                </c:pt>
                <c:pt idx="20">
                  <c:v>1.5135363336639236</c:v>
                </c:pt>
                <c:pt idx="21">
                  <c:v>0.925645872715816</c:v>
                </c:pt>
                <c:pt idx="22">
                  <c:v>0.76728041280298553</c:v>
                </c:pt>
                <c:pt idx="23">
                  <c:v>1.3403813812184668</c:v>
                </c:pt>
                <c:pt idx="24">
                  <c:v>0.96660893541230308</c:v>
                </c:pt>
                <c:pt idx="25">
                  <c:v>1.107886371808702</c:v>
                </c:pt>
                <c:pt idx="26">
                  <c:v>0.95771449613354609</c:v>
                </c:pt>
                <c:pt idx="27">
                  <c:v>2.128230081696417</c:v>
                </c:pt>
                <c:pt idx="28">
                  <c:v>0.79182288653108601</c:v>
                </c:pt>
                <c:pt idx="29">
                  <c:v>0.90616329004772511</c:v>
                </c:pt>
                <c:pt idx="30">
                  <c:v>1.0336438317691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1C9C-4C43-B6C0-8405007F8E99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% změna 6. vs. 5. týden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2</c:f>
              <c:strCache>
                <c:ptCount val="31"/>
                <c:pt idx="0">
                  <c:v>Nizozemsko</c:v>
                </c:pt>
                <c:pt idx="1">
                  <c:v>Island</c:v>
                </c:pt>
                <c:pt idx="2">
                  <c:v>Velká Británie</c:v>
                </c:pt>
                <c:pt idx="3">
                  <c:v>Slovensko</c:v>
                </c:pt>
                <c:pt idx="4">
                  <c:v>Lotyšsko</c:v>
                </c:pt>
                <c:pt idx="5">
                  <c:v>Dánsko</c:v>
                </c:pt>
                <c:pt idx="6">
                  <c:v>Norsko</c:v>
                </c:pt>
                <c:pt idx="7">
                  <c:v>Řecko</c:v>
                </c:pt>
                <c:pt idx="8">
                  <c:v>Německo</c:v>
                </c:pt>
                <c:pt idx="9">
                  <c:v>Lichtenštejnsko</c:v>
                </c:pt>
                <c:pt idx="10">
                  <c:v>Finsko</c:v>
                </c:pt>
                <c:pt idx="11">
                  <c:v>Rakousko</c:v>
                </c:pt>
                <c:pt idx="12">
                  <c:v>Irsko</c:v>
                </c:pt>
                <c:pt idx="13">
                  <c:v>Kypr</c:v>
                </c:pt>
                <c:pt idx="14">
                  <c:v>Estonsko</c:v>
                </c:pt>
                <c:pt idx="15">
                  <c:v>Bulharsko</c:v>
                </c:pt>
                <c:pt idx="16">
                  <c:v>Rumunsko</c:v>
                </c:pt>
                <c:pt idx="17">
                  <c:v>Chorvatsko</c:v>
                </c:pt>
                <c:pt idx="18">
                  <c:v>Česká republika</c:v>
                </c:pt>
                <c:pt idx="19">
                  <c:v>Maďarsko</c:v>
                </c:pt>
                <c:pt idx="20">
                  <c:v>Polsko</c:v>
                </c:pt>
                <c:pt idx="21">
                  <c:v>Malta</c:v>
                </c:pt>
                <c:pt idx="22">
                  <c:v>Španělsko</c:v>
                </c:pt>
                <c:pt idx="23">
                  <c:v>Slovinsko</c:v>
                </c:pt>
                <c:pt idx="24">
                  <c:v>Francie</c:v>
                </c:pt>
                <c:pt idx="25">
                  <c:v>Portugalsko</c:v>
                </c:pt>
                <c:pt idx="26">
                  <c:v>Lucembursko</c:v>
                </c:pt>
                <c:pt idx="27">
                  <c:v>Litva</c:v>
                </c:pt>
                <c:pt idx="28">
                  <c:v>Itálie</c:v>
                </c:pt>
                <c:pt idx="29">
                  <c:v>Belgie</c:v>
                </c:pt>
                <c:pt idx="30">
                  <c:v>Švédsko</c:v>
                </c:pt>
              </c:strCache>
            </c:strRef>
          </c:cat>
          <c:val>
            <c:numRef>
              <c:f>List1!$C$2:$C$32</c:f>
              <c:numCache>
                <c:formatCode>General</c:formatCode>
                <c:ptCount val="31"/>
                <c:pt idx="0">
                  <c:v>1.5110300145444928</c:v>
                </c:pt>
                <c:pt idx="1">
                  <c:v>1.3166587112171837</c:v>
                </c:pt>
                <c:pt idx="2">
                  <c:v>1.2719358876165212</c:v>
                </c:pt>
                <c:pt idx="3">
                  <c:v>1.2151759796806967</c:v>
                </c:pt>
                <c:pt idx="4">
                  <c:v>1.1210975849204792</c:v>
                </c:pt>
                <c:pt idx="5">
                  <c:v>1.1201835907955946</c:v>
                </c:pt>
                <c:pt idx="6">
                  <c:v>1.0646671020306622</c:v>
                </c:pt>
                <c:pt idx="7">
                  <c:v>1.0015726424404843</c:v>
                </c:pt>
                <c:pt idx="8">
                  <c:v>0.99716236469084341</c:v>
                </c:pt>
                <c:pt idx="9">
                  <c:v>0.97365269461077841</c:v>
                </c:pt>
                <c:pt idx="10">
                  <c:v>0.9400958660794666</c:v>
                </c:pt>
                <c:pt idx="11">
                  <c:v>0.93404038556986491</c:v>
                </c:pt>
                <c:pt idx="12">
                  <c:v>0.92096600036870246</c:v>
                </c:pt>
                <c:pt idx="13">
                  <c:v>0.84515173188924086</c:v>
                </c:pt>
                <c:pt idx="14">
                  <c:v>0.79005225791676215</c:v>
                </c:pt>
                <c:pt idx="15">
                  <c:v>0.77771404252169574</c:v>
                </c:pt>
                <c:pt idx="16">
                  <c:v>0.75335666296300141</c:v>
                </c:pt>
                <c:pt idx="17">
                  <c:v>0.71028756918723213</c:v>
                </c:pt>
                <c:pt idx="18">
                  <c:v>0.69373113263025832</c:v>
                </c:pt>
                <c:pt idx="19">
                  <c:v>0.68456154796212432</c:v>
                </c:pt>
                <c:pt idx="20">
                  <c:v>0.67745826210741367</c:v>
                </c:pt>
                <c:pt idx="21">
                  <c:v>0.58333333333333337</c:v>
                </c:pt>
                <c:pt idx="22">
                  <c:v>0.57465102544829805</c:v>
                </c:pt>
                <c:pt idx="23">
                  <c:v>0.5737747186224833</c:v>
                </c:pt>
                <c:pt idx="24">
                  <c:v>0.56422887971562763</c:v>
                </c:pt>
                <c:pt idx="25">
                  <c:v>0.54857045377004432</c:v>
                </c:pt>
                <c:pt idx="26">
                  <c:v>0.5245727441778093</c:v>
                </c:pt>
                <c:pt idx="27">
                  <c:v>0.48282948391516201</c:v>
                </c:pt>
                <c:pt idx="28">
                  <c:v>0.43638474051186477</c:v>
                </c:pt>
                <c:pt idx="29">
                  <c:v>0.39300591383924716</c:v>
                </c:pt>
                <c:pt idx="30">
                  <c:v>0.335918995736617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1C9C-4C43-B6C0-8405007F8E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7552"/>
        <c:axId val="354365592"/>
      </c:barChart>
      <c:catAx>
        <c:axId val="354367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592"/>
        <c:crosses val="autoZero"/>
        <c:auto val="1"/>
        <c:lblAlgn val="ctr"/>
        <c:lblOffset val="100"/>
        <c:noMultiLvlLbl val="0"/>
      </c:catAx>
      <c:valAx>
        <c:axId val="354365592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5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179585351877881E-2"/>
          <c:y val="4.725786302175191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testy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C8-4C38-A27C-C7ACF4A14BB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031-4F32-8B10-320319D083D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A43-4423-804C-AD52486F23B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C8-4C38-A27C-C7ACF4A14BBE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4A1-454A-B56F-BAAB6C631BA8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64A1-454A-B56F-BAAB6C631BA8}"/>
              </c:ext>
            </c:extLst>
          </c:dPt>
          <c:dPt>
            <c:idx val="2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64A1-454A-B56F-BAAB6C631BA8}"/>
              </c:ext>
            </c:extLst>
          </c:dPt>
          <c:cat>
            <c:strRef>
              <c:f>List1!$A$2:$A$27</c:f>
              <c:strCache>
                <c:ptCount val="26"/>
                <c:pt idx="0">
                  <c:v>Litva</c:v>
                </c:pt>
                <c:pt idx="1">
                  <c:v>Estonsko</c:v>
                </c:pt>
                <c:pt idx="2">
                  <c:v>Norsko</c:v>
                </c:pt>
                <c:pt idx="3">
                  <c:v>Švédsko</c:v>
                </c:pt>
                <c:pt idx="4">
                  <c:v>Německo</c:v>
                </c:pt>
                <c:pt idx="5">
                  <c:v>Lichtenštejnsko</c:v>
                </c:pt>
                <c:pt idx="6">
                  <c:v>Nizozemsko</c:v>
                </c:pt>
                <c:pt idx="7">
                  <c:v>Lotyšsko</c:v>
                </c:pt>
                <c:pt idx="8">
                  <c:v>Maďarsko</c:v>
                </c:pt>
                <c:pt idx="9">
                  <c:v>Finsko</c:v>
                </c:pt>
                <c:pt idx="10">
                  <c:v>Francie</c:v>
                </c:pt>
                <c:pt idx="11">
                  <c:v>Irsko</c:v>
                </c:pt>
                <c:pt idx="12">
                  <c:v>Lucembursko</c:v>
                </c:pt>
                <c:pt idx="13">
                  <c:v>Polsko</c:v>
                </c:pt>
                <c:pt idx="14">
                  <c:v>Rumunsko</c:v>
                </c:pt>
                <c:pt idx="15">
                  <c:v>Belgie</c:v>
                </c:pt>
                <c:pt idx="16">
                  <c:v>Španělsko</c:v>
                </c:pt>
                <c:pt idx="17">
                  <c:v>Slovensko</c:v>
                </c:pt>
                <c:pt idx="18">
                  <c:v>Island</c:v>
                </c:pt>
                <c:pt idx="19">
                  <c:v>Česká republika</c:v>
                </c:pt>
                <c:pt idx="20">
                  <c:v>Bulharsko</c:v>
                </c:pt>
                <c:pt idx="21">
                  <c:v>Chorvatsko</c:v>
                </c:pt>
                <c:pt idx="22">
                  <c:v>Slovinsko</c:v>
                </c:pt>
                <c:pt idx="23">
                  <c:v>Itálie</c:v>
                </c:pt>
                <c:pt idx="24">
                  <c:v>Kypr</c:v>
                </c:pt>
                <c:pt idx="25">
                  <c:v>Rakousko</c:v>
                </c:pt>
              </c:strCache>
            </c:strRef>
          </c:cat>
          <c:val>
            <c:numRef>
              <c:f>List1!$B$2:$B$27</c:f>
              <c:numCache>
                <c:formatCode>0.0%</c:formatCode>
                <c:ptCount val="26"/>
                <c:pt idx="0">
                  <c:v>0.63666506660599387</c:v>
                </c:pt>
                <c:pt idx="1">
                  <c:v>0.56407867630656994</c:v>
                </c:pt>
                <c:pt idx="2">
                  <c:v>0.55674256940047884</c:v>
                </c:pt>
                <c:pt idx="3">
                  <c:v>0.51826134533980162</c:v>
                </c:pt>
                <c:pt idx="4">
                  <c:v>0.49783237036750716</c:v>
                </c:pt>
                <c:pt idx="5">
                  <c:v>0.46253157451585741</c:v>
                </c:pt>
                <c:pt idx="6">
                  <c:v>0.41860340039088328</c:v>
                </c:pt>
                <c:pt idx="7">
                  <c:v>0.40238951073696755</c:v>
                </c:pt>
                <c:pt idx="8">
                  <c:v>0.38362393266564632</c:v>
                </c:pt>
                <c:pt idx="9">
                  <c:v>0.32990885055711633</c:v>
                </c:pt>
                <c:pt idx="10">
                  <c:v>0.31531449903049852</c:v>
                </c:pt>
                <c:pt idx="11">
                  <c:v>0.30472963657708169</c:v>
                </c:pt>
                <c:pt idx="12">
                  <c:v>0.30445084967551411</c:v>
                </c:pt>
                <c:pt idx="13">
                  <c:v>0.30161132964146148</c:v>
                </c:pt>
                <c:pt idx="14">
                  <c:v>0.2967841499511365</c:v>
                </c:pt>
                <c:pt idx="15">
                  <c:v>0.29126694458704006</c:v>
                </c:pt>
                <c:pt idx="16">
                  <c:v>0.26246379645385343</c:v>
                </c:pt>
                <c:pt idx="17">
                  <c:v>0.26177724798415192</c:v>
                </c:pt>
                <c:pt idx="18">
                  <c:v>0.25657373045326226</c:v>
                </c:pt>
                <c:pt idx="19">
                  <c:v>0.23632804071364361</c:v>
                </c:pt>
                <c:pt idx="20">
                  <c:v>0.22540072073424802</c:v>
                </c:pt>
                <c:pt idx="21">
                  <c:v>0.19669184951552729</c:v>
                </c:pt>
                <c:pt idx="22">
                  <c:v>0.10218242270464944</c:v>
                </c:pt>
                <c:pt idx="23">
                  <c:v>8.3319385366441151E-2</c:v>
                </c:pt>
                <c:pt idx="24">
                  <c:v>4.8370312732279153E-2</c:v>
                </c:pt>
                <c:pt idx="25">
                  <c:v>3.163756231051876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6768"/>
        <c:axId val="354367160"/>
      </c:barChart>
      <c:catAx>
        <c:axId val="3543667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160"/>
        <c:crosses val="autoZero"/>
        <c:auto val="1"/>
        <c:lblAlgn val="ctr"/>
        <c:lblOffset val="100"/>
        <c:noMultiLvlLbl val="0"/>
      </c:catAx>
      <c:valAx>
        <c:axId val="354367160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67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487393863624522E-2"/>
          <c:y val="4.725794487389709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5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457-4C08-8B8D-49B5CD97021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790-4FF7-B806-ED2F71D73D6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790-4FF7-B806-ED2F71D73D6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B55-4A16-9A6E-E29737EBB7F9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FEF-4C58-AB71-BCAF2B9C942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B55-4A16-9A6E-E29737EBB7F9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FEF-4C58-AB71-BCAF2B9C9422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FEF-4C58-AB71-BCAF2B9C9422}"/>
              </c:ext>
            </c:extLst>
          </c:dPt>
          <c:cat>
            <c:strRef>
              <c:f>List1!$A$2:$A$28</c:f>
              <c:strCache>
                <c:ptCount val="27"/>
                <c:pt idx="0">
                  <c:v>Norsko</c:v>
                </c:pt>
                <c:pt idx="1">
                  <c:v>Estonsko</c:v>
                </c:pt>
                <c:pt idx="2">
                  <c:v>Německo</c:v>
                </c:pt>
                <c:pt idx="3">
                  <c:v>Lichtenštejnsko</c:v>
                </c:pt>
                <c:pt idx="4">
                  <c:v>Litva</c:v>
                </c:pt>
                <c:pt idx="5">
                  <c:v>Švédsko</c:v>
                </c:pt>
                <c:pt idx="6">
                  <c:v>Nizozemsko</c:v>
                </c:pt>
                <c:pt idx="7">
                  <c:v>Lotyšsko</c:v>
                </c:pt>
                <c:pt idx="8">
                  <c:v>Maďarsko</c:v>
                </c:pt>
                <c:pt idx="9">
                  <c:v>Finsko</c:v>
                </c:pt>
                <c:pt idx="10">
                  <c:v>Island</c:v>
                </c:pt>
                <c:pt idx="11">
                  <c:v>Slovensko</c:v>
                </c:pt>
                <c:pt idx="12">
                  <c:v>Irsko</c:v>
                </c:pt>
                <c:pt idx="13">
                  <c:v>Francie</c:v>
                </c:pt>
                <c:pt idx="14">
                  <c:v>Rumunsko</c:v>
                </c:pt>
                <c:pt idx="15">
                  <c:v>Polsko</c:v>
                </c:pt>
                <c:pt idx="16">
                  <c:v>Lucembursko</c:v>
                </c:pt>
                <c:pt idx="17">
                  <c:v>Česká republika</c:v>
                </c:pt>
                <c:pt idx="18">
                  <c:v>Španělsko</c:v>
                </c:pt>
                <c:pt idx="19">
                  <c:v>Bulharsko</c:v>
                </c:pt>
                <c:pt idx="20">
                  <c:v>Belgie</c:v>
                </c:pt>
                <c:pt idx="21">
                  <c:v>Chorvatsko</c:v>
                </c:pt>
                <c:pt idx="22">
                  <c:v>Slovinsko</c:v>
                </c:pt>
                <c:pt idx="23">
                  <c:v>Itálie</c:v>
                </c:pt>
                <c:pt idx="24">
                  <c:v>Kypr</c:v>
                </c:pt>
                <c:pt idx="25">
                  <c:v>Rakousko</c:v>
                </c:pt>
                <c:pt idx="26">
                  <c:v>Řecko</c:v>
                </c:pt>
              </c:strCache>
            </c:strRef>
          </c:cat>
          <c:val>
            <c:numRef>
              <c:f>List1!$B$2:$B$28</c:f>
              <c:numCache>
                <c:formatCode>0.0%</c:formatCode>
                <c:ptCount val="27"/>
                <c:pt idx="0">
                  <c:v>0.50869255714624695</c:v>
                </c:pt>
                <c:pt idx="1">
                  <c:v>0.5526076601815525</c:v>
                </c:pt>
                <c:pt idx="2">
                  <c:v>0.48926800280830829</c:v>
                </c:pt>
                <c:pt idx="3">
                  <c:v>0.44700214132762311</c:v>
                </c:pt>
                <c:pt idx="4">
                  <c:v>0.76531449993570533</c:v>
                </c:pt>
                <c:pt idx="5">
                  <c:v>0.55335690519524239</c:v>
                </c:pt>
                <c:pt idx="6">
                  <c:v>0.41031811996935769</c:v>
                </c:pt>
                <c:pt idx="7">
                  <c:v>0.38961138310893512</c:v>
                </c:pt>
                <c:pt idx="8">
                  <c:v>0.39053801475169325</c:v>
                </c:pt>
                <c:pt idx="9">
                  <c:v>0.32828250555138427</c:v>
                </c:pt>
                <c:pt idx="10">
                  <c:v>0.20898589469904036</c:v>
                </c:pt>
                <c:pt idx="11">
                  <c:v>0.22511190250596269</c:v>
                </c:pt>
                <c:pt idx="12">
                  <c:v>0.30702740290928499</c:v>
                </c:pt>
                <c:pt idx="13">
                  <c:v>0.33337404692958228</c:v>
                </c:pt>
                <c:pt idx="14">
                  <c:v>0.31337627704388038</c:v>
                </c:pt>
                <c:pt idx="15">
                  <c:v>0.32726372532871495</c:v>
                </c:pt>
                <c:pt idx="16">
                  <c:v>0.35045307845084411</c:v>
                </c:pt>
                <c:pt idx="17">
                  <c:v>0.24023445471279717</c:v>
                </c:pt>
                <c:pt idx="18">
                  <c:v>0.28682058930189691</c:v>
                </c:pt>
                <c:pt idx="19">
                  <c:v>0.23274132005753612</c:v>
                </c:pt>
                <c:pt idx="20">
                  <c:v>0.34833012872922881</c:v>
                </c:pt>
                <c:pt idx="21">
                  <c:v>0.21204179241453558</c:v>
                </c:pt>
                <c:pt idx="22">
                  <c:v>0.11941521297658522</c:v>
                </c:pt>
                <c:pt idx="23">
                  <c:v>0.10155691211600186</c:v>
                </c:pt>
                <c:pt idx="24">
                  <c:v>5.151459325736242E-2</c:v>
                </c:pt>
                <c:pt idx="25">
                  <c:v>2.8972370505666166E-2</c:v>
                </c:pt>
                <c:pt idx="26">
                  <c:v>2.503047194000768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6. týde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List1!$A$2:$A$28</c:f>
              <c:strCache>
                <c:ptCount val="27"/>
                <c:pt idx="0">
                  <c:v>Norsko</c:v>
                </c:pt>
                <c:pt idx="1">
                  <c:v>Estonsko</c:v>
                </c:pt>
                <c:pt idx="2">
                  <c:v>Německo</c:v>
                </c:pt>
                <c:pt idx="3">
                  <c:v>Lichtenštejnsko</c:v>
                </c:pt>
                <c:pt idx="4">
                  <c:v>Litva</c:v>
                </c:pt>
                <c:pt idx="5">
                  <c:v>Švédsko</c:v>
                </c:pt>
                <c:pt idx="6">
                  <c:v>Nizozemsko</c:v>
                </c:pt>
                <c:pt idx="7">
                  <c:v>Lotyšsko</c:v>
                </c:pt>
                <c:pt idx="8">
                  <c:v>Maďarsko</c:v>
                </c:pt>
                <c:pt idx="9">
                  <c:v>Finsko</c:v>
                </c:pt>
                <c:pt idx="10">
                  <c:v>Island</c:v>
                </c:pt>
                <c:pt idx="11">
                  <c:v>Slovensko</c:v>
                </c:pt>
                <c:pt idx="12">
                  <c:v>Irsko</c:v>
                </c:pt>
                <c:pt idx="13">
                  <c:v>Francie</c:v>
                </c:pt>
                <c:pt idx="14">
                  <c:v>Rumunsko</c:v>
                </c:pt>
                <c:pt idx="15">
                  <c:v>Polsko</c:v>
                </c:pt>
                <c:pt idx="16">
                  <c:v>Lucembursko</c:v>
                </c:pt>
                <c:pt idx="17">
                  <c:v>Česká republika</c:v>
                </c:pt>
                <c:pt idx="18">
                  <c:v>Španělsko</c:v>
                </c:pt>
                <c:pt idx="19">
                  <c:v>Bulharsko</c:v>
                </c:pt>
                <c:pt idx="20">
                  <c:v>Belgie</c:v>
                </c:pt>
                <c:pt idx="21">
                  <c:v>Chorvatsko</c:v>
                </c:pt>
                <c:pt idx="22">
                  <c:v>Slovinsko</c:v>
                </c:pt>
                <c:pt idx="23">
                  <c:v>Itálie</c:v>
                </c:pt>
                <c:pt idx="24">
                  <c:v>Kypr</c:v>
                </c:pt>
                <c:pt idx="25">
                  <c:v>Rakousko</c:v>
                </c:pt>
                <c:pt idx="26">
                  <c:v>Řecko</c:v>
                </c:pt>
              </c:strCache>
            </c:strRef>
          </c:cat>
          <c:val>
            <c:numRef>
              <c:f>List1!$C$2:$C$28</c:f>
              <c:numCache>
                <c:formatCode>0.0%</c:formatCode>
                <c:ptCount val="27"/>
                <c:pt idx="0">
                  <c:v>0.61094604602193137</c:v>
                </c:pt>
                <c:pt idx="1">
                  <c:v>0.57929929013052439</c:v>
                </c:pt>
                <c:pt idx="2">
                  <c:v>0.50672759999999994</c:v>
                </c:pt>
                <c:pt idx="3">
                  <c:v>0.47964601769911502</c:v>
                </c:pt>
                <c:pt idx="4">
                  <c:v>0.47224873426922614</c:v>
                </c:pt>
                <c:pt idx="5">
                  <c:v>0.43595171228570229</c:v>
                </c:pt>
                <c:pt idx="6">
                  <c:v>0.42427308507747208</c:v>
                </c:pt>
                <c:pt idx="7">
                  <c:v>0.41451595339213765</c:v>
                </c:pt>
                <c:pt idx="8">
                  <c:v>0.3739528398421248</c:v>
                </c:pt>
                <c:pt idx="9">
                  <c:v>0.33165660918306911</c:v>
                </c:pt>
                <c:pt idx="10">
                  <c:v>0.31022538125871607</c:v>
                </c:pt>
                <c:pt idx="11">
                  <c:v>0.30229540602871291</c:v>
                </c:pt>
                <c:pt idx="12">
                  <c:v>0.30227331662200707</c:v>
                </c:pt>
                <c:pt idx="13">
                  <c:v>0.28769289402734821</c:v>
                </c:pt>
                <c:pt idx="14">
                  <c:v>0.27729565169198545</c:v>
                </c:pt>
                <c:pt idx="15">
                  <c:v>0.27033280450631919</c:v>
                </c:pt>
                <c:pt idx="16">
                  <c:v>0.24351543552431454</c:v>
                </c:pt>
                <c:pt idx="17">
                  <c:v>0.23091545497253751</c:v>
                </c:pt>
                <c:pt idx="18">
                  <c:v>0.2286715049639905</c:v>
                </c:pt>
                <c:pt idx="19">
                  <c:v>0.21661598721847136</c:v>
                </c:pt>
                <c:pt idx="20">
                  <c:v>0.20557553246137433</c:v>
                </c:pt>
                <c:pt idx="21">
                  <c:v>0.17849952675531944</c:v>
                </c:pt>
                <c:pt idx="22">
                  <c:v>8.1647335450701006E-2</c:v>
                </c:pt>
                <c:pt idx="23">
                  <c:v>5.9028289926580067E-2</c:v>
                </c:pt>
                <c:pt idx="24">
                  <c:v>4.5112310373131681E-2</c:v>
                </c:pt>
                <c:pt idx="25">
                  <c:v>3.5093849252307463E-2</c:v>
                </c:pt>
                <c:pt idx="26">
                  <c:v>2.960244546786884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7DCA-49BB-91DA-A5CFB36956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9904824"/>
        <c:axId val="359794704"/>
      </c:barChart>
      <c:catAx>
        <c:axId val="299904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704"/>
        <c:crosses val="autoZero"/>
        <c:auto val="1"/>
        <c:lblAlgn val="ctr"/>
        <c:lblOffset val="100"/>
        <c:noMultiLvlLbl val="0"/>
      </c:catAx>
      <c:valAx>
        <c:axId val="35979470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9904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2">
                  <a:lumMod val="2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9535243648902862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H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H$2:$H$34</c:f>
              <c:numCache>
                <c:formatCode>0.0%</c:formatCode>
                <c:ptCount val="33"/>
                <c:pt idx="0">
                  <c:v>8.9867693557789119E-3</c:v>
                </c:pt>
                <c:pt idx="1">
                  <c:v>1.7590892914005282E-2</c:v>
                </c:pt>
                <c:pt idx="2">
                  <c:v>1.8972151244295528E-2</c:v>
                </c:pt>
                <c:pt idx="3">
                  <c:v>2.4622415215268364E-2</c:v>
                </c:pt>
                <c:pt idx="4">
                  <c:v>2.9400039085401602E-2</c:v>
                </c:pt>
                <c:pt idx="5">
                  <c:v>3.4785030105162061E-2</c:v>
                </c:pt>
                <c:pt idx="6">
                  <c:v>3.7961907307212252E-2</c:v>
                </c:pt>
                <c:pt idx="7">
                  <c:v>4.5126053436085833E-2</c:v>
                </c:pt>
                <c:pt idx="8">
                  <c:v>4.9234933224511432E-2</c:v>
                </c:pt>
                <c:pt idx="9">
                  <c:v>4.8767781581577324E-2</c:v>
                </c:pt>
                <c:pt idx="10">
                  <c:v>4.6002373668990189E-2</c:v>
                </c:pt>
                <c:pt idx="11">
                  <c:v>4.3773039436560086E-2</c:v>
                </c:pt>
                <c:pt idx="12">
                  <c:v>4.1042621530910532E-2</c:v>
                </c:pt>
                <c:pt idx="13">
                  <c:v>4.2871446830841944E-2</c:v>
                </c:pt>
                <c:pt idx="14">
                  <c:v>4.7695759737644554E-2</c:v>
                </c:pt>
                <c:pt idx="15">
                  <c:v>6.4971478569155944E-2</c:v>
                </c:pt>
                <c:pt idx="16">
                  <c:v>8.513971427111891E-2</c:v>
                </c:pt>
                <c:pt idx="17">
                  <c:v>9.2231106864128914E-2</c:v>
                </c:pt>
                <c:pt idx="18">
                  <c:v>0.11053915290717456</c:v>
                </c:pt>
                <c:pt idx="19">
                  <c:v>0.13001104449909845</c:v>
                </c:pt>
                <c:pt idx="20">
                  <c:v>0.14918011582909665</c:v>
                </c:pt>
                <c:pt idx="21">
                  <c:v>0.15018060024955671</c:v>
                </c:pt>
                <c:pt idx="22">
                  <c:v>0.15328191533145796</c:v>
                </c:pt>
                <c:pt idx="23">
                  <c:v>0.14208313349320545</c:v>
                </c:pt>
                <c:pt idx="24">
                  <c:v>0.11158259972570303</c:v>
                </c:pt>
                <c:pt idx="25">
                  <c:v>0.10078891676861121</c:v>
                </c:pt>
                <c:pt idx="26">
                  <c:v>0.16588295703197409</c:v>
                </c:pt>
                <c:pt idx="27">
                  <c:v>0.25697957082055028</c:v>
                </c:pt>
                <c:pt idx="28">
                  <c:v>0.32824684821353323</c:v>
                </c:pt>
                <c:pt idx="29">
                  <c:v>0.43317632062644001</c:v>
                </c:pt>
                <c:pt idx="30">
                  <c:v>0.4110641626936945</c:v>
                </c:pt>
                <c:pt idx="31">
                  <c:v>0.34833012872922881</c:v>
                </c:pt>
                <c:pt idx="32">
                  <c:v>0.205575532461374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C$2:$C$34</c:f>
              <c:numCache>
                <c:formatCode>0.0%</c:formatCode>
                <c:ptCount val="33"/>
                <c:pt idx="0">
                  <c:v>1.1517058156047645E-3</c:v>
                </c:pt>
                <c:pt idx="1">
                  <c:v>2.5317255698706067E-3</c:v>
                </c:pt>
                <c:pt idx="2">
                  <c:v>2.2194270819700136E-3</c:v>
                </c:pt>
                <c:pt idx="3">
                  <c:v>1.8728172958068549E-3</c:v>
                </c:pt>
                <c:pt idx="4">
                  <c:v>1.5770761194128669E-3</c:v>
                </c:pt>
                <c:pt idx="5">
                  <c:v>1.6438917737086635E-3</c:v>
                </c:pt>
                <c:pt idx="6">
                  <c:v>1.7273342910188042E-3</c:v>
                </c:pt>
                <c:pt idx="7">
                  <c:v>1.931985790556121E-3</c:v>
                </c:pt>
                <c:pt idx="8">
                  <c:v>2.339778359177249E-3</c:v>
                </c:pt>
                <c:pt idx="9">
                  <c:v>3.1286782447349348E-3</c:v>
                </c:pt>
                <c:pt idx="10">
                  <c:v>4.9506360086636128E-3</c:v>
                </c:pt>
                <c:pt idx="11">
                  <c:v>6.069964746751976E-3</c:v>
                </c:pt>
                <c:pt idx="12">
                  <c:v>6.3731746047209423E-3</c:v>
                </c:pt>
                <c:pt idx="13">
                  <c:v>9.8494057561632573E-3</c:v>
                </c:pt>
                <c:pt idx="14">
                  <c:v>1.3399795603918858E-2</c:v>
                </c:pt>
                <c:pt idx="15">
                  <c:v>1.9520761849138944E-2</c:v>
                </c:pt>
                <c:pt idx="16">
                  <c:v>3.6602253361266719E-2</c:v>
                </c:pt>
                <c:pt idx="17">
                  <c:v>4.8995597373232259E-2</c:v>
                </c:pt>
                <c:pt idx="18">
                  <c:v>8.8419311000771134E-2</c:v>
                </c:pt>
                <c:pt idx="19">
                  <c:v>0.10899667932024398</c:v>
                </c:pt>
                <c:pt idx="20">
                  <c:v>0.13501847864592101</c:v>
                </c:pt>
                <c:pt idx="21">
                  <c:v>0.1610629596888703</c:v>
                </c:pt>
                <c:pt idx="22">
                  <c:v>0.14527402347593685</c:v>
                </c:pt>
                <c:pt idx="23">
                  <c:v>0.12999737730341179</c:v>
                </c:pt>
                <c:pt idx="24">
                  <c:v>0.10550346954510409</c:v>
                </c:pt>
                <c:pt idx="25">
                  <c:v>8.2779629678651642E-2</c:v>
                </c:pt>
                <c:pt idx="26">
                  <c:v>9.8828176649477725E-2</c:v>
                </c:pt>
                <c:pt idx="27">
                  <c:v>8.7944497500140439E-2</c:v>
                </c:pt>
                <c:pt idx="28">
                  <c:v>0.12134816447873868</c:v>
                </c:pt>
                <c:pt idx="29">
                  <c:v>0.18232155257483279</c:v>
                </c:pt>
                <c:pt idx="30">
                  <c:v>0.23283930992566274</c:v>
                </c:pt>
                <c:pt idx="31">
                  <c:v>0.24023445471279717</c:v>
                </c:pt>
                <c:pt idx="32">
                  <c:v>0.230915454972537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D$2:$D$34</c:f>
              <c:numCache>
                <c:formatCode>0.0%</c:formatCode>
                <c:ptCount val="33"/>
                <c:pt idx="0">
                  <c:v>8.7743639303792011E-3</c:v>
                </c:pt>
                <c:pt idx="1">
                  <c:v>1.2407202619028043E-2</c:v>
                </c:pt>
                <c:pt idx="2">
                  <c:v>2.3378893884813186E-2</c:v>
                </c:pt>
                <c:pt idx="3">
                  <c:v>4.2076159564349735E-2</c:v>
                </c:pt>
                <c:pt idx="4">
                  <c:v>4.2618263732455378E-2</c:v>
                </c:pt>
                <c:pt idx="5">
                  <c:v>4.3305743173333432E-2</c:v>
                </c:pt>
                <c:pt idx="6">
                  <c:v>3.5691828298066018E-2</c:v>
                </c:pt>
                <c:pt idx="7">
                  <c:v>3.1057260114972538E-2</c:v>
                </c:pt>
                <c:pt idx="8">
                  <c:v>2.8494347519878557E-2</c:v>
                </c:pt>
                <c:pt idx="9">
                  <c:v>2.4630632269883723E-2</c:v>
                </c:pt>
                <c:pt idx="10">
                  <c:v>1.9954781460228933E-2</c:v>
                </c:pt>
                <c:pt idx="11">
                  <c:v>1.4879269519677944E-2</c:v>
                </c:pt>
                <c:pt idx="12">
                  <c:v>1.2461365680182484E-2</c:v>
                </c:pt>
                <c:pt idx="13">
                  <c:v>1.0940178320000707E-2</c:v>
                </c:pt>
                <c:pt idx="14">
                  <c:v>1.0219963646944673E-2</c:v>
                </c:pt>
                <c:pt idx="15">
                  <c:v>1.1529827699139957E-2</c:v>
                </c:pt>
                <c:pt idx="16">
                  <c:v>1.7536007395283458E-2</c:v>
                </c:pt>
                <c:pt idx="17">
                  <c:v>2.1321999384926842E-2</c:v>
                </c:pt>
                <c:pt idx="18">
                  <c:v>2.9361010393789341E-2</c:v>
                </c:pt>
                <c:pt idx="19">
                  <c:v>3.610796744224707E-2</c:v>
                </c:pt>
                <c:pt idx="20">
                  <c:v>4.7830374559951212E-2</c:v>
                </c:pt>
                <c:pt idx="21">
                  <c:v>5.6620310421184351E-2</c:v>
                </c:pt>
                <c:pt idx="22">
                  <c:v>6.4567926298003023E-2</c:v>
                </c:pt>
                <c:pt idx="23">
                  <c:v>6.6628787641547255E-2</c:v>
                </c:pt>
                <c:pt idx="24">
                  <c:v>6.7942473851072646E-2</c:v>
                </c:pt>
                <c:pt idx="25">
                  <c:v>8.3196439462180929E-2</c:v>
                </c:pt>
                <c:pt idx="26">
                  <c:v>0.16929061897830538</c:v>
                </c:pt>
                <c:pt idx="27">
                  <c:v>0.20191556692272886</c:v>
                </c:pt>
                <c:pt idx="28">
                  <c:v>0.22901896117841777</c:v>
                </c:pt>
                <c:pt idx="29">
                  <c:v>0.31210067829523158</c:v>
                </c:pt>
                <c:pt idx="30">
                  <c:v>0.34205721501944514</c:v>
                </c:pt>
                <c:pt idx="31">
                  <c:v>0.33337404692958228</c:v>
                </c:pt>
                <c:pt idx="32">
                  <c:v>0.287692894027348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F$2:$F$34</c:f>
              <c:numCache>
                <c:formatCode>0.0%</c:formatCode>
                <c:ptCount val="33"/>
                <c:pt idx="0">
                  <c:v>4.6625657262957289E-3</c:v>
                </c:pt>
                <c:pt idx="1">
                  <c:v>7.5485099373168172E-3</c:v>
                </c:pt>
                <c:pt idx="2">
                  <c:v>1.4703464419548617E-2</c:v>
                </c:pt>
                <c:pt idx="3">
                  <c:v>2.1810923708428107E-2</c:v>
                </c:pt>
                <c:pt idx="4">
                  <c:v>2.5897434860391533E-2</c:v>
                </c:pt>
                <c:pt idx="5">
                  <c:v>2.9104247040906445E-2</c:v>
                </c:pt>
                <c:pt idx="6">
                  <c:v>3.0159217877094972E-2</c:v>
                </c:pt>
                <c:pt idx="7">
                  <c:v>3.2485690613629742E-2</c:v>
                </c:pt>
                <c:pt idx="8">
                  <c:v>2.8539069384095325E-2</c:v>
                </c:pt>
                <c:pt idx="9">
                  <c:v>2.103873841186709E-2</c:v>
                </c:pt>
                <c:pt idx="10">
                  <c:v>1.7087825060385257E-2</c:v>
                </c:pt>
                <c:pt idx="11">
                  <c:v>1.4706704890641669E-2</c:v>
                </c:pt>
                <c:pt idx="12">
                  <c:v>1.1972530810842505E-2</c:v>
                </c:pt>
                <c:pt idx="13">
                  <c:v>1.0450948122360604E-2</c:v>
                </c:pt>
                <c:pt idx="14">
                  <c:v>9.3549697337690727E-3</c:v>
                </c:pt>
                <c:pt idx="15">
                  <c:v>7.4877290244349838E-3</c:v>
                </c:pt>
                <c:pt idx="16">
                  <c:v>7.6557997202127493E-3</c:v>
                </c:pt>
                <c:pt idx="17">
                  <c:v>1.0055984181682111E-2</c:v>
                </c:pt>
                <c:pt idx="18">
                  <c:v>1.2624199670506866E-2</c:v>
                </c:pt>
                <c:pt idx="19">
                  <c:v>1.5578090705728022E-2</c:v>
                </c:pt>
                <c:pt idx="20">
                  <c:v>1.8698936546834698E-2</c:v>
                </c:pt>
                <c:pt idx="21">
                  <c:v>2.2480574282270988E-2</c:v>
                </c:pt>
                <c:pt idx="22">
                  <c:v>2.6159974835936003E-2</c:v>
                </c:pt>
                <c:pt idx="23">
                  <c:v>3.3688676740669124E-2</c:v>
                </c:pt>
                <c:pt idx="24">
                  <c:v>3.9528195350414443E-2</c:v>
                </c:pt>
                <c:pt idx="25">
                  <c:v>5.9129607840817229E-2</c:v>
                </c:pt>
                <c:pt idx="26">
                  <c:v>0.13104532092084015</c:v>
                </c:pt>
                <c:pt idx="27">
                  <c:v>0.17892613886857631</c:v>
                </c:pt>
                <c:pt idx="28">
                  <c:v>0.15274612709552393</c:v>
                </c:pt>
                <c:pt idx="29">
                  <c:v>0.15068477990354939</c:v>
                </c:pt>
                <c:pt idx="30">
                  <c:v>0.12726038416382268</c:v>
                </c:pt>
                <c:pt idx="31">
                  <c:v>0.10155691211600186</c:v>
                </c:pt>
                <c:pt idx="32">
                  <c:v>5.902828992658006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J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J$2:$J$34</c:f>
              <c:numCache>
                <c:formatCode>0.0%</c:formatCode>
                <c:ptCount val="33"/>
                <c:pt idx="0">
                  <c:v>4.6165145315286956E-3</c:v>
                </c:pt>
                <c:pt idx="1">
                  <c:v>5.932112645893565E-3</c:v>
                </c:pt>
                <c:pt idx="2">
                  <c:v>7.0108074292987033E-3</c:v>
                </c:pt>
                <c:pt idx="3">
                  <c:v>8.5268660553603562E-3</c:v>
                </c:pt>
                <c:pt idx="4">
                  <c:v>8.2225220016701999E-3</c:v>
                </c:pt>
                <c:pt idx="5">
                  <c:v>7.7855040313979775E-3</c:v>
                </c:pt>
                <c:pt idx="6">
                  <c:v>9.8493626882966388E-3</c:v>
                </c:pt>
                <c:pt idx="7">
                  <c:v>1.1483342639121534E-2</c:v>
                </c:pt>
                <c:pt idx="8">
                  <c:v>1.714011189114634E-2</c:v>
                </c:pt>
                <c:pt idx="9">
                  <c:v>2.0650760445524961E-2</c:v>
                </c:pt>
                <c:pt idx="10">
                  <c:v>2.344409250449437E-2</c:v>
                </c:pt>
                <c:pt idx="11">
                  <c:v>2.7386688359093091E-2</c:v>
                </c:pt>
                <c:pt idx="12">
                  <c:v>3.28770989135036E-2</c:v>
                </c:pt>
                <c:pt idx="13">
                  <c:v>4.4005792797945746E-2</c:v>
                </c:pt>
                <c:pt idx="14">
                  <c:v>5.0057914636011974E-2</c:v>
                </c:pt>
                <c:pt idx="15">
                  <c:v>6.8871645587227151E-2</c:v>
                </c:pt>
                <c:pt idx="16">
                  <c:v>0.11984589665911424</c:v>
                </c:pt>
                <c:pt idx="17">
                  <c:v>0.16136845697309521</c:v>
                </c:pt>
                <c:pt idx="18">
                  <c:v>0.20132975089940344</c:v>
                </c:pt>
                <c:pt idx="19">
                  <c:v>0.22405975279264989</c:v>
                </c:pt>
                <c:pt idx="20">
                  <c:v>0.23216177902514462</c:v>
                </c:pt>
                <c:pt idx="21">
                  <c:v>0.24564115866839603</c:v>
                </c:pt>
                <c:pt idx="22">
                  <c:v>0.25009453194357678</c:v>
                </c:pt>
                <c:pt idx="23">
                  <c:v>0.22101900279405715</c:v>
                </c:pt>
                <c:pt idx="24">
                  <c:v>0.18354848356468215</c:v>
                </c:pt>
                <c:pt idx="25">
                  <c:v>0.16831643768839721</c:v>
                </c:pt>
                <c:pt idx="26">
                  <c:v>0.19135301019947648</c:v>
                </c:pt>
                <c:pt idx="27">
                  <c:v>0.22770981837868495</c:v>
                </c:pt>
                <c:pt idx="28">
                  <c:v>0.2949646576188617</c:v>
                </c:pt>
                <c:pt idx="29">
                  <c:v>0.35231291153411221</c:v>
                </c:pt>
                <c:pt idx="30">
                  <c:v>0.39168989017060096</c:v>
                </c:pt>
                <c:pt idx="31">
                  <c:v>0.39053801475169325</c:v>
                </c:pt>
                <c:pt idx="32">
                  <c:v>0.37395283984212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E$2:$E$34</c:f>
              <c:numCache>
                <c:formatCode>0.0%</c:formatCode>
                <c:ptCount val="33"/>
                <c:pt idx="0">
                  <c:v>5.9759484492359046E-3</c:v>
                </c:pt>
                <c:pt idx="1">
                  <c:v>9.0537823879594422E-3</c:v>
                </c:pt>
                <c:pt idx="2">
                  <c:v>1.487551985881084E-2</c:v>
                </c:pt>
                <c:pt idx="3">
                  <c:v>2.109612293791956E-2</c:v>
                </c:pt>
                <c:pt idx="4">
                  <c:v>2.6397140182143161E-2</c:v>
                </c:pt>
                <c:pt idx="5">
                  <c:v>3.4364637163970577E-2</c:v>
                </c:pt>
                <c:pt idx="6">
                  <c:v>5.6035831057194431E-2</c:v>
                </c:pt>
                <c:pt idx="7">
                  <c:v>7.1374028786599805E-2</c:v>
                </c:pt>
                <c:pt idx="8">
                  <c:v>7.6628600265837357E-2</c:v>
                </c:pt>
                <c:pt idx="9">
                  <c:v>7.85462368847753E-2</c:v>
                </c:pt>
                <c:pt idx="10">
                  <c:v>7.0577392311282572E-2</c:v>
                </c:pt>
                <c:pt idx="11">
                  <c:v>6.2282856783787179E-2</c:v>
                </c:pt>
                <c:pt idx="12">
                  <c:v>5.5402054185868688E-2</c:v>
                </c:pt>
                <c:pt idx="13">
                  <c:v>5.823936284295448E-2</c:v>
                </c:pt>
                <c:pt idx="14">
                  <c:v>6.0197965139206562E-2</c:v>
                </c:pt>
                <c:pt idx="15">
                  <c:v>7.5671545016672837E-2</c:v>
                </c:pt>
                <c:pt idx="16">
                  <c:v>0.10706808892433456</c:v>
                </c:pt>
                <c:pt idx="17">
                  <c:v>0.11720193862724188</c:v>
                </c:pt>
                <c:pt idx="18">
                  <c:v>0.14859403869734744</c:v>
                </c:pt>
                <c:pt idx="19">
                  <c:v>0.16567736311072934</c:v>
                </c:pt>
                <c:pt idx="20">
                  <c:v>0.18799325791777824</c:v>
                </c:pt>
                <c:pt idx="21">
                  <c:v>0.20662748562721675</c:v>
                </c:pt>
                <c:pt idx="22">
                  <c:v>0.19913419247527839</c:v>
                </c:pt>
                <c:pt idx="23">
                  <c:v>0.19415126594558724</c:v>
                </c:pt>
                <c:pt idx="24">
                  <c:v>0.17574451083444567</c:v>
                </c:pt>
                <c:pt idx="25">
                  <c:v>0.15581866719796009</c:v>
                </c:pt>
                <c:pt idx="26">
                  <c:v>0.2172490231009426</c:v>
                </c:pt>
                <c:pt idx="27">
                  <c:v>0.22537174039212024</c:v>
                </c:pt>
                <c:pt idx="28">
                  <c:v>0.23673918053658671</c:v>
                </c:pt>
                <c:pt idx="29">
                  <c:v>0.31543056610851661</c:v>
                </c:pt>
                <c:pt idx="30">
                  <c:v>0.42973658218696859</c:v>
                </c:pt>
                <c:pt idx="31">
                  <c:v>0.48926800280830829</c:v>
                </c:pt>
                <c:pt idx="32">
                  <c:v>0.5067275999999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G$2:$G$34</c:f>
              <c:numCache>
                <c:formatCode>0.0%</c:formatCode>
                <c:ptCount val="33"/>
                <c:pt idx="0">
                  <c:v>1.0267071014643778E-2</c:v>
                </c:pt>
                <c:pt idx="1">
                  <c:v>5.7389775588910348E-2</c:v>
                </c:pt>
                <c:pt idx="2">
                  <c:v>9.5404701444399984E-2</c:v>
                </c:pt>
                <c:pt idx="3">
                  <c:v>4.9715854134402486E-2</c:v>
                </c:pt>
                <c:pt idx="4">
                  <c:v>3.3548362255204633E-2</c:v>
                </c:pt>
                <c:pt idx="5">
                  <c:v>2.9075344398139566E-2</c:v>
                </c:pt>
                <c:pt idx="6">
                  <c:v>3.0730790871551322E-2</c:v>
                </c:pt>
                <c:pt idx="7">
                  <c:v>3.5974389670812436E-2</c:v>
                </c:pt>
                <c:pt idx="8">
                  <c:v>4.3835495196042761E-2</c:v>
                </c:pt>
                <c:pt idx="9">
                  <c:v>4.5928997068638594E-2</c:v>
                </c:pt>
                <c:pt idx="10">
                  <c:v>4.4441844884242764E-2</c:v>
                </c:pt>
                <c:pt idx="11">
                  <c:v>3.797139282600101E-2</c:v>
                </c:pt>
                <c:pt idx="12">
                  <c:v>2.3995453840987755E-2</c:v>
                </c:pt>
                <c:pt idx="13">
                  <c:v>1.9786010092699247E-2</c:v>
                </c:pt>
                <c:pt idx="14">
                  <c:v>3.1383435039810448E-2</c:v>
                </c:pt>
                <c:pt idx="15">
                  <c:v>3.2478422484509599E-2</c:v>
                </c:pt>
                <c:pt idx="16">
                  <c:v>4.1571483473333191E-2</c:v>
                </c:pt>
                <c:pt idx="17">
                  <c:v>5.7540439670898329E-2</c:v>
                </c:pt>
                <c:pt idx="18">
                  <c:v>6.6871796066056713E-2</c:v>
                </c:pt>
                <c:pt idx="19">
                  <c:v>6.9390697237264043E-2</c:v>
                </c:pt>
                <c:pt idx="20">
                  <c:v>0.1112509008108812</c:v>
                </c:pt>
                <c:pt idx="21">
                  <c:v>0.12114560540806429</c:v>
                </c:pt>
                <c:pt idx="22">
                  <c:v>0.14156403179006574</c:v>
                </c:pt>
                <c:pt idx="23">
                  <c:v>0.15233601650208053</c:v>
                </c:pt>
                <c:pt idx="24">
                  <c:v>0.13718849259868873</c:v>
                </c:pt>
                <c:pt idx="25">
                  <c:v>0.14105294889292291</c:v>
                </c:pt>
                <c:pt idx="26">
                  <c:v>0.17430217685167396</c:v>
                </c:pt>
                <c:pt idx="27">
                  <c:v>0.22136636132799783</c:v>
                </c:pt>
                <c:pt idx="28">
                  <c:v>0.24727919550864624</c:v>
                </c:pt>
                <c:pt idx="29">
                  <c:v>0.2609523075168918</c:v>
                </c:pt>
                <c:pt idx="30">
                  <c:v>0.28934220436004127</c:v>
                </c:pt>
                <c:pt idx="31">
                  <c:v>0.41031811996935769</c:v>
                </c:pt>
                <c:pt idx="32">
                  <c:v>0.424273085077472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I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I$2:$I$34</c:f>
              <c:numCache>
                <c:formatCode>0.0%</c:formatCode>
                <c:ptCount val="33"/>
                <c:pt idx="0">
                  <c:v>2.1344901189314447E-3</c:v>
                </c:pt>
                <c:pt idx="1">
                  <c:v>2.0111258354252631E-3</c:v>
                </c:pt>
                <c:pt idx="2">
                  <c:v>2.3433512530782099E-3</c:v>
                </c:pt>
                <c:pt idx="3">
                  <c:v>2.8143125717401832E-3</c:v>
                </c:pt>
                <c:pt idx="4">
                  <c:v>3.483765110247946E-3</c:v>
                </c:pt>
                <c:pt idx="5">
                  <c:v>3.8001043022869918E-3</c:v>
                </c:pt>
                <c:pt idx="6">
                  <c:v>4.7280722475605544E-3</c:v>
                </c:pt>
                <c:pt idx="7">
                  <c:v>5.0274835768869819E-3</c:v>
                </c:pt>
                <c:pt idx="8">
                  <c:v>6.2417235210754972E-3</c:v>
                </c:pt>
                <c:pt idx="9">
                  <c:v>8.9875520632396125E-3</c:v>
                </c:pt>
                <c:pt idx="10">
                  <c:v>1.2670956577321677E-2</c:v>
                </c:pt>
                <c:pt idx="11">
                  <c:v>1.6751379694115217E-2</c:v>
                </c:pt>
                <c:pt idx="12">
                  <c:v>2.0444139194139194E-2</c:v>
                </c:pt>
                <c:pt idx="13">
                  <c:v>2.9341924839187968E-2</c:v>
                </c:pt>
                <c:pt idx="14">
                  <c:v>4.6197617026627683E-2</c:v>
                </c:pt>
                <c:pt idx="15">
                  <c:v>6.6678390888034927E-2</c:v>
                </c:pt>
                <c:pt idx="16">
                  <c:v>0.11175634569997235</c:v>
                </c:pt>
                <c:pt idx="17">
                  <c:v>0.15054810327419588</c:v>
                </c:pt>
                <c:pt idx="18">
                  <c:v>0.19202110339815676</c:v>
                </c:pt>
                <c:pt idx="19">
                  <c:v>0.2228222939699312</c:v>
                </c:pt>
                <c:pt idx="20">
                  <c:v>0.24583406029879135</c:v>
                </c:pt>
                <c:pt idx="21">
                  <c:v>0.25382659606727159</c:v>
                </c:pt>
                <c:pt idx="22">
                  <c:v>0.24777299622639223</c:v>
                </c:pt>
                <c:pt idx="23">
                  <c:v>0.23529259911104902</c:v>
                </c:pt>
                <c:pt idx="24">
                  <c:v>0.20158611181963143</c:v>
                </c:pt>
                <c:pt idx="25">
                  <c:v>0.16609146146957882</c:v>
                </c:pt>
                <c:pt idx="26">
                  <c:v>0.14003577931714339</c:v>
                </c:pt>
                <c:pt idx="27">
                  <c:v>0.14660029373219902</c:v>
                </c:pt>
                <c:pt idx="28">
                  <c:v>0.16684218493385919</c:v>
                </c:pt>
                <c:pt idx="29">
                  <c:v>0.26552017005285683</c:v>
                </c:pt>
                <c:pt idx="30">
                  <c:v>0.30805804850105023</c:v>
                </c:pt>
                <c:pt idx="31">
                  <c:v>0.32726372532871495</c:v>
                </c:pt>
                <c:pt idx="32">
                  <c:v>0.270332804506319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B$2:$B$34</c:f>
              <c:numCache>
                <c:formatCode>0.0%</c:formatCode>
                <c:ptCount val="33"/>
                <c:pt idx="0">
                  <c:v>1.3166365240795764E-4</c:v>
                </c:pt>
                <c:pt idx="1">
                  <c:v>2.684131283243138E-4</c:v>
                </c:pt>
                <c:pt idx="2">
                  <c:v>6.4438783156001796E-4</c:v>
                </c:pt>
                <c:pt idx="3">
                  <c:v>9.0230684916086886E-4</c:v>
                </c:pt>
                <c:pt idx="4">
                  <c:v>1.0093815667241268E-3</c:v>
                </c:pt>
                <c:pt idx="5">
                  <c:v>1.3509894053988735E-3</c:v>
                </c:pt>
                <c:pt idx="6">
                  <c:v>2.2830970728304483E-3</c:v>
                </c:pt>
                <c:pt idx="7">
                  <c:v>2.9097161791043053E-3</c:v>
                </c:pt>
                <c:pt idx="8">
                  <c:v>3.4908972523427415E-3</c:v>
                </c:pt>
                <c:pt idx="9">
                  <c:v>3.9796939162708442E-3</c:v>
                </c:pt>
                <c:pt idx="10">
                  <c:v>4.2491950404701072E-3</c:v>
                </c:pt>
                <c:pt idx="11">
                  <c:v>4.6213417319023497E-3</c:v>
                </c:pt>
                <c:pt idx="12">
                  <c:v>3.7188059231562684E-3</c:v>
                </c:pt>
                <c:pt idx="13">
                  <c:v>4.1774119944389615E-3</c:v>
                </c:pt>
                <c:pt idx="14">
                  <c:v>3.4909589787743469E-3</c:v>
                </c:pt>
                <c:pt idx="15">
                  <c:v>4.2734293735187589E-3</c:v>
                </c:pt>
                <c:pt idx="16">
                  <c:v>6.4637719090764019E-3</c:v>
                </c:pt>
                <c:pt idx="17">
                  <c:v>1.1246294633142253E-2</c:v>
                </c:pt>
                <c:pt idx="18">
                  <c:v>1.1862572033706147E-2</c:v>
                </c:pt>
                <c:pt idx="19">
                  <c:v>1.8288045004160435E-2</c:v>
                </c:pt>
                <c:pt idx="20">
                  <c:v>1.6463068886063813E-2</c:v>
                </c:pt>
                <c:pt idx="21">
                  <c:v>1.0562559788074272E-2</c:v>
                </c:pt>
                <c:pt idx="22">
                  <c:v>8.4497863804987965E-3</c:v>
                </c:pt>
                <c:pt idx="23">
                  <c:v>5.7873411215073186E-3</c:v>
                </c:pt>
                <c:pt idx="24">
                  <c:v>3.1490716364556536E-3</c:v>
                </c:pt>
                <c:pt idx="25">
                  <c:v>3.068613133177894E-3</c:v>
                </c:pt>
                <c:pt idx="26">
                  <c:v>4.7745408468080064E-3</c:v>
                </c:pt>
                <c:pt idx="27">
                  <c:v>1.4980011856377097E-2</c:v>
                </c:pt>
                <c:pt idx="28">
                  <c:v>1.395932399031404E-2</c:v>
                </c:pt>
                <c:pt idx="29">
                  <c:v>2.2587969572930737E-2</c:v>
                </c:pt>
                <c:pt idx="30">
                  <c:v>2.8622973494839558E-2</c:v>
                </c:pt>
                <c:pt idx="31">
                  <c:v>2.8972370505666166E-2</c:v>
                </c:pt>
                <c:pt idx="32">
                  <c:v>3.509384925230746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K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K$2:$K$34</c:f>
              <c:numCache>
                <c:formatCode>0.0%</c:formatCode>
                <c:ptCount val="33"/>
                <c:pt idx="0">
                  <c:v>1.0677334676159702E-3</c:v>
                </c:pt>
                <c:pt idx="1">
                  <c:v>2.4285447412665793E-3</c:v>
                </c:pt>
                <c:pt idx="2">
                  <c:v>2.2151018431707894E-3</c:v>
                </c:pt>
                <c:pt idx="3">
                  <c:v>3.1765375740442918E-3</c:v>
                </c:pt>
                <c:pt idx="4">
                  <c:v>4.1363613873633166E-3</c:v>
                </c:pt>
                <c:pt idx="5">
                  <c:v>4.4324937503938825E-3</c:v>
                </c:pt>
                <c:pt idx="6">
                  <c:v>5.7273653111229875E-3</c:v>
                </c:pt>
                <c:pt idx="7">
                  <c:v>5.9536372590403824E-3</c:v>
                </c:pt>
                <c:pt idx="8">
                  <c:v>7.3170949083357839E-3</c:v>
                </c:pt>
                <c:pt idx="9">
                  <c:v>1.1196375255355927E-2</c:v>
                </c:pt>
                <c:pt idx="10">
                  <c:v>1.7050535120214604E-2</c:v>
                </c:pt>
                <c:pt idx="11">
                  <c:v>2.8315500796283626E-2</c:v>
                </c:pt>
                <c:pt idx="12">
                  <c:v>2.9621302416296458E-2</c:v>
                </c:pt>
                <c:pt idx="13">
                  <c:v>3.8364537541376954E-2</c:v>
                </c:pt>
                <c:pt idx="14">
                  <c:v>4.5630007586937131E-2</c:v>
                </c:pt>
                <c:pt idx="15">
                  <c:v>5.5002372731586785E-2</c:v>
                </c:pt>
                <c:pt idx="16">
                  <c:v>8.3156289557254848E-2</c:v>
                </c:pt>
                <c:pt idx="17">
                  <c:v>0.1123544383475417</c:v>
                </c:pt>
                <c:pt idx="18">
                  <c:v>0.13808626432166271</c:v>
                </c:pt>
                <c:pt idx="19">
                  <c:v>0.13431291607010357</c:v>
                </c:pt>
                <c:pt idx="20">
                  <c:v>0.150093926111459</c:v>
                </c:pt>
                <c:pt idx="21">
                  <c:v>0.13442178180927519</c:v>
                </c:pt>
                <c:pt idx="22">
                  <c:v>0.12895986134569556</c:v>
                </c:pt>
                <c:pt idx="23">
                  <c:v>0.11794079119727535</c:v>
                </c:pt>
                <c:pt idx="24">
                  <c:v>9.2099060449644068E-2</c:v>
                </c:pt>
                <c:pt idx="25">
                  <c:v>8.6775625067648007E-2</c:v>
                </c:pt>
                <c:pt idx="26">
                  <c:v>8.8796684208408416E-2</c:v>
                </c:pt>
                <c:pt idx="27">
                  <c:v>6.9581939674201773E-2</c:v>
                </c:pt>
                <c:pt idx="28">
                  <c:v>6.3336135974201513E-2</c:v>
                </c:pt>
                <c:pt idx="29">
                  <c:v>0.12965399366839542</c:v>
                </c:pt>
                <c:pt idx="30">
                  <c:v>0.21127869432526869</c:v>
                </c:pt>
                <c:pt idx="31">
                  <c:v>0.22511190250596269</c:v>
                </c:pt>
                <c:pt idx="32">
                  <c:v>0.302295406028712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L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L$2:$L$34</c:f>
              <c:numCache>
                <c:formatCode>0.0%</c:formatCode>
                <c:ptCount val="33"/>
                <c:pt idx="0">
                  <c:v>9.3498465251974264E-2</c:v>
                </c:pt>
                <c:pt idx="1">
                  <c:v>0.12789566910271141</c:v>
                </c:pt>
                <c:pt idx="2">
                  <c:v>0.14407167368732052</c:v>
                </c:pt>
                <c:pt idx="3">
                  <c:v>0.14559521011184634</c:v>
                </c:pt>
                <c:pt idx="4">
                  <c:v>0.12983089291648137</c:v>
                </c:pt>
                <c:pt idx="5">
                  <c:v>0.11513503455814801</c:v>
                </c:pt>
                <c:pt idx="6">
                  <c:v>0.10115934624881802</c:v>
                </c:pt>
                <c:pt idx="7">
                  <c:v>8.7624275740835686E-2</c:v>
                </c:pt>
                <c:pt idx="8">
                  <c:v>7.094145317462934E-2</c:v>
                </c:pt>
                <c:pt idx="9">
                  <c:v>4.9251444098749125E-2</c:v>
                </c:pt>
                <c:pt idx="10">
                  <c:v>3.7332393747009918E-2</c:v>
                </c:pt>
                <c:pt idx="11">
                  <c:v>2.8146189399903498E-2</c:v>
                </c:pt>
                <c:pt idx="12">
                  <c:v>2.2405089767083216E-2</c:v>
                </c:pt>
                <c:pt idx="13">
                  <c:v>1.825990143192964E-2</c:v>
                </c:pt>
                <c:pt idx="14">
                  <c:v>1.807013484233334E-2</c:v>
                </c:pt>
                <c:pt idx="15">
                  <c:v>1.9689101737306671E-2</c:v>
                </c:pt>
                <c:pt idx="16">
                  <c:v>2.1500479890150692E-2</c:v>
                </c:pt>
                <c:pt idx="17">
                  <c:v>2.3656144105582307E-2</c:v>
                </c:pt>
                <c:pt idx="18">
                  <c:v>2.9796244073548733E-2</c:v>
                </c:pt>
                <c:pt idx="19">
                  <c:v>3.9458246743926263E-2</c:v>
                </c:pt>
                <c:pt idx="20">
                  <c:v>5.3537917508145696E-2</c:v>
                </c:pt>
                <c:pt idx="21">
                  <c:v>6.6117206243092433E-2</c:v>
                </c:pt>
                <c:pt idx="22">
                  <c:v>8.0865656551856055E-2</c:v>
                </c:pt>
                <c:pt idx="23">
                  <c:v>0.11047062853660407</c:v>
                </c:pt>
                <c:pt idx="24">
                  <c:v>0.14214007047571106</c:v>
                </c:pt>
                <c:pt idx="25">
                  <c:v>0.21033620498686367</c:v>
                </c:pt>
                <c:pt idx="26">
                  <c:v>0.30185237921155955</c:v>
                </c:pt>
                <c:pt idx="27">
                  <c:v>0.34681782330501609</c:v>
                </c:pt>
                <c:pt idx="28">
                  <c:v>0.35244654388444446</c:v>
                </c:pt>
                <c:pt idx="29">
                  <c:v>0.35302397364324273</c:v>
                </c:pt>
                <c:pt idx="30">
                  <c:v>0.33737037837041356</c:v>
                </c:pt>
                <c:pt idx="31">
                  <c:v>0.28682058930189691</c:v>
                </c:pt>
                <c:pt idx="32" formatCode="General">
                  <c:v>0.22867150496399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9794312"/>
        <c:axId val="359798624"/>
      </c:lineChart>
      <c:catAx>
        <c:axId val="359794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8624"/>
        <c:crosses val="autoZero"/>
        <c:auto val="1"/>
        <c:lblAlgn val="ctr"/>
        <c:lblOffset val="100"/>
        <c:tickLblSkip val="1"/>
        <c:noMultiLvlLbl val="1"/>
      </c:catAx>
      <c:valAx>
        <c:axId val="359798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I$2:$I$34</c:f>
              <c:numCache>
                <c:formatCode>General</c:formatCode>
                <c:ptCount val="33"/>
                <c:pt idx="0">
                  <c:v>0.43393586775023346</c:v>
                </c:pt>
                <c:pt idx="1">
                  <c:v>0.30375510742516343</c:v>
                </c:pt>
                <c:pt idx="2">
                  <c:v>0.1909317818101027</c:v>
                </c:pt>
                <c:pt idx="3">
                  <c:v>0.19961049916510737</c:v>
                </c:pt>
                <c:pt idx="4">
                  <c:v>0.31243382478016807</c:v>
                </c:pt>
                <c:pt idx="5">
                  <c:v>0.41657843304022413</c:v>
                </c:pt>
                <c:pt idx="6">
                  <c:v>0.42525715039522882</c:v>
                </c:pt>
                <c:pt idx="7">
                  <c:v>0.58147406278531288</c:v>
                </c:pt>
                <c:pt idx="8">
                  <c:v>0.68561867104536889</c:v>
                </c:pt>
                <c:pt idx="9">
                  <c:v>0.70297610575537817</c:v>
                </c:pt>
                <c:pt idx="10">
                  <c:v>0.85051430079045764</c:v>
                </c:pt>
                <c:pt idx="11">
                  <c:v>0.83315686608044826</c:v>
                </c:pt>
                <c:pt idx="12">
                  <c:v>0.85051430079045764</c:v>
                </c:pt>
                <c:pt idx="13">
                  <c:v>0.98937377847053232</c:v>
                </c:pt>
                <c:pt idx="14">
                  <c:v>1.0848396693755837</c:v>
                </c:pt>
                <c:pt idx="15">
                  <c:v>1.3538799073807284</c:v>
                </c:pt>
                <c:pt idx="16">
                  <c:v>1.7444221883559385</c:v>
                </c:pt>
                <c:pt idx="17">
                  <c:v>2.2651452296562185</c:v>
                </c:pt>
                <c:pt idx="18">
                  <c:v>2.6817236626964429</c:v>
                </c:pt>
                <c:pt idx="19">
                  <c:v>3.0983020957366665</c:v>
                </c:pt>
                <c:pt idx="20">
                  <c:v>4.0269248527221668</c:v>
                </c:pt>
                <c:pt idx="21">
                  <c:v>4.9121540229326426</c:v>
                </c:pt>
                <c:pt idx="22">
                  <c:v>5.6672024328180495</c:v>
                </c:pt>
                <c:pt idx="23">
                  <c:v>5.7887044757881139</c:v>
                </c:pt>
                <c:pt idx="24">
                  <c:v>4.9729050444176757</c:v>
                </c:pt>
                <c:pt idx="25">
                  <c:v>4.1657843304022411</c:v>
                </c:pt>
                <c:pt idx="26">
                  <c:v>3.3586636163868073</c:v>
                </c:pt>
                <c:pt idx="27">
                  <c:v>2.594936489146396</c:v>
                </c:pt>
                <c:pt idx="28">
                  <c:v>2.412683424691298</c:v>
                </c:pt>
                <c:pt idx="29">
                  <c:v>2.8119044230215127</c:v>
                </c:pt>
                <c:pt idx="30">
                  <c:v>3.5756315502619236</c:v>
                </c:pt>
                <c:pt idx="31">
                  <c:v>4.6170776328624843</c:v>
                </c:pt>
                <c:pt idx="32">
                  <c:v>5.21590913035780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C$2:$C$34</c:f>
              <c:numCache>
                <c:formatCode>General</c:formatCode>
                <c:ptCount val="33"/>
                <c:pt idx="0">
                  <c:v>0.16831964349151421</c:v>
                </c:pt>
                <c:pt idx="1">
                  <c:v>9.3510913050841235E-2</c:v>
                </c:pt>
                <c:pt idx="2">
                  <c:v>5.6106547830504741E-2</c:v>
                </c:pt>
                <c:pt idx="3">
                  <c:v>5.6106547830504741E-2</c:v>
                </c:pt>
                <c:pt idx="4">
                  <c:v>6.5457639135588858E-2</c:v>
                </c:pt>
                <c:pt idx="5">
                  <c:v>7.4808730440672988E-2</c:v>
                </c:pt>
                <c:pt idx="6">
                  <c:v>8.4159821745757105E-2</c:v>
                </c:pt>
                <c:pt idx="7">
                  <c:v>0.13091527827117772</c:v>
                </c:pt>
                <c:pt idx="8">
                  <c:v>0.15896855218643008</c:v>
                </c:pt>
                <c:pt idx="9">
                  <c:v>9.3510913050841235E-2</c:v>
                </c:pt>
                <c:pt idx="10">
                  <c:v>7.4808730440672988E-2</c:v>
                </c:pt>
                <c:pt idx="11">
                  <c:v>0.19637291740676657</c:v>
                </c:pt>
                <c:pt idx="12">
                  <c:v>0.26183055654235543</c:v>
                </c:pt>
                <c:pt idx="13">
                  <c:v>0.26183055654235543</c:v>
                </c:pt>
                <c:pt idx="14">
                  <c:v>0.3833947435084491</c:v>
                </c:pt>
                <c:pt idx="15">
                  <c:v>0.73873621310164572</c:v>
                </c:pt>
                <c:pt idx="16">
                  <c:v>1.3091527827117773</c:v>
                </c:pt>
                <c:pt idx="17">
                  <c:v>2.3471239175761149</c:v>
                </c:pt>
                <c:pt idx="18">
                  <c:v>4.3856618220844537</c:v>
                </c:pt>
                <c:pt idx="19">
                  <c:v>7.1629359396944379</c:v>
                </c:pt>
                <c:pt idx="20">
                  <c:v>10.735052818236573</c:v>
                </c:pt>
                <c:pt idx="21">
                  <c:v>13.58713566628723</c:v>
                </c:pt>
                <c:pt idx="22">
                  <c:v>14.933692814219343</c:v>
                </c:pt>
                <c:pt idx="23">
                  <c:v>15.279683192507456</c:v>
                </c:pt>
                <c:pt idx="24">
                  <c:v>14.138850053287193</c:v>
                </c:pt>
                <c:pt idx="25">
                  <c:v>11.604704309609396</c:v>
                </c:pt>
                <c:pt idx="26">
                  <c:v>8.7900258267790754</c:v>
                </c:pt>
                <c:pt idx="27">
                  <c:v>6.9011053831520828</c:v>
                </c:pt>
                <c:pt idx="28">
                  <c:v>5.3581753178132026</c:v>
                </c:pt>
                <c:pt idx="29">
                  <c:v>3.7591387046438172</c:v>
                </c:pt>
                <c:pt idx="30">
                  <c:v>2.9549448524065829</c:v>
                </c:pt>
                <c:pt idx="31">
                  <c:v>4.2360443612031071</c:v>
                </c:pt>
                <c:pt idx="32">
                  <c:v>6.227826809186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D$2:$D$34</c:f>
              <c:numCache>
                <c:formatCode>General</c:formatCode>
                <c:ptCount val="33"/>
                <c:pt idx="0">
                  <c:v>0.66250530152785003</c:v>
                </c:pt>
                <c:pt idx="1">
                  <c:v>0.54367026986366174</c:v>
                </c:pt>
                <c:pt idx="2">
                  <c:v>0.42334980030367103</c:v>
                </c:pt>
                <c:pt idx="3">
                  <c:v>0.39512648028342628</c:v>
                </c:pt>
                <c:pt idx="4">
                  <c:v>0.64170917098661717</c:v>
                </c:pt>
                <c:pt idx="5">
                  <c:v>0.94919481541770445</c:v>
                </c:pt>
                <c:pt idx="6">
                  <c:v>1.2121173229747213</c:v>
                </c:pt>
                <c:pt idx="7">
                  <c:v>1.9117585718976304</c:v>
                </c:pt>
                <c:pt idx="8">
                  <c:v>2.3157976795558706</c:v>
                </c:pt>
                <c:pt idx="9">
                  <c:v>2.1167490015183552</c:v>
                </c:pt>
                <c:pt idx="10">
                  <c:v>1.9280983887514564</c:v>
                </c:pt>
                <c:pt idx="11">
                  <c:v>1.6310108095909852</c:v>
                </c:pt>
                <c:pt idx="12">
                  <c:v>1.327981478847305</c:v>
                </c:pt>
                <c:pt idx="13">
                  <c:v>1.0947677292063354</c:v>
                </c:pt>
                <c:pt idx="14">
                  <c:v>0.85709766587795855</c:v>
                </c:pt>
                <c:pt idx="15">
                  <c:v>0.67290336679846663</c:v>
                </c:pt>
                <c:pt idx="16">
                  <c:v>0.60902953727896536</c:v>
                </c:pt>
                <c:pt idx="17">
                  <c:v>0.60754409938316301</c:v>
                </c:pt>
                <c:pt idx="18">
                  <c:v>0.65507811204883837</c:v>
                </c:pt>
                <c:pt idx="19">
                  <c:v>0.71449562788093246</c:v>
                </c:pt>
                <c:pt idx="20">
                  <c:v>0.84818503850314442</c:v>
                </c:pt>
                <c:pt idx="21">
                  <c:v>1.1749813755796623</c:v>
                </c:pt>
                <c:pt idx="22">
                  <c:v>1.6384379990699971</c:v>
                </c:pt>
                <c:pt idx="23">
                  <c:v>2.3068850521810567</c:v>
                </c:pt>
                <c:pt idx="24">
                  <c:v>2.9381961578970572</c:v>
                </c:pt>
                <c:pt idx="25">
                  <c:v>3.330351762388879</c:v>
                </c:pt>
                <c:pt idx="26">
                  <c:v>3.7403326216303285</c:v>
                </c:pt>
                <c:pt idx="27">
                  <c:v>4.2201290619744896</c:v>
                </c:pt>
                <c:pt idx="28">
                  <c:v>4.5291001443013785</c:v>
                </c:pt>
                <c:pt idx="29">
                  <c:v>4.8484692918988852</c:v>
                </c:pt>
                <c:pt idx="30">
                  <c:v>5.5198872208015501</c:v>
                </c:pt>
                <c:pt idx="31">
                  <c:v>6.0457322359155832</c:v>
                </c:pt>
                <c:pt idx="32">
                  <c:v>6.10812062753928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F$2:$F$34</c:f>
              <c:numCache>
                <c:formatCode>General</c:formatCode>
                <c:ptCount val="33"/>
                <c:pt idx="0">
                  <c:v>0.63546368930298991</c:v>
                </c:pt>
                <c:pt idx="1">
                  <c:v>0.5080356144031819</c:v>
                </c:pt>
                <c:pt idx="2">
                  <c:v>0.36551737273892293</c:v>
                </c:pt>
                <c:pt idx="3">
                  <c:v>0.2917432241127183</c:v>
                </c:pt>
                <c:pt idx="4">
                  <c:v>0.33198366881792085</c:v>
                </c:pt>
                <c:pt idx="5">
                  <c:v>0.45438168812957846</c:v>
                </c:pt>
                <c:pt idx="6">
                  <c:v>0.61534346695038855</c:v>
                </c:pt>
                <c:pt idx="7">
                  <c:v>0.89031983910260593</c:v>
                </c:pt>
                <c:pt idx="8">
                  <c:v>1.1082889145891197</c:v>
                </c:pt>
                <c:pt idx="9">
                  <c:v>1.2809874897822804</c:v>
                </c:pt>
                <c:pt idx="10">
                  <c:v>1.384941971937387</c:v>
                </c:pt>
                <c:pt idx="11">
                  <c:v>1.3329647308598336</c:v>
                </c:pt>
                <c:pt idx="12">
                  <c:v>1.304461082526982</c:v>
                </c:pt>
                <c:pt idx="13">
                  <c:v>1.2088900263521258</c:v>
                </c:pt>
                <c:pt idx="14">
                  <c:v>1.0127178584142638</c:v>
                </c:pt>
                <c:pt idx="15">
                  <c:v>0.85510944998555372</c:v>
                </c:pt>
                <c:pt idx="16">
                  <c:v>0.88025972792630525</c:v>
                </c:pt>
                <c:pt idx="17">
                  <c:v>0.93726702459200895</c:v>
                </c:pt>
                <c:pt idx="18">
                  <c:v>0.93726702459200895</c:v>
                </c:pt>
                <c:pt idx="19">
                  <c:v>1.1317625073338209</c:v>
                </c:pt>
                <c:pt idx="20">
                  <c:v>1.3279346752716834</c:v>
                </c:pt>
                <c:pt idx="21">
                  <c:v>1.5073399912490446</c:v>
                </c:pt>
                <c:pt idx="22">
                  <c:v>1.7068655295790069</c:v>
                </c:pt>
                <c:pt idx="23">
                  <c:v>1.9399247718299719</c:v>
                </c:pt>
                <c:pt idx="24">
                  <c:v>2.4244867934884522</c:v>
                </c:pt>
                <c:pt idx="25">
                  <c:v>2.9844996489691873</c:v>
                </c:pt>
                <c:pt idx="26">
                  <c:v>3.3617538180804609</c:v>
                </c:pt>
                <c:pt idx="27">
                  <c:v>4.0693149708136058</c:v>
                </c:pt>
                <c:pt idx="28">
                  <c:v>5.7979774079412634</c:v>
                </c:pt>
                <c:pt idx="29">
                  <c:v>7.5199331042847222</c:v>
                </c:pt>
                <c:pt idx="30">
                  <c:v>8.4588768140727808</c:v>
                </c:pt>
                <c:pt idx="31">
                  <c:v>8.7992439088709524</c:v>
                </c:pt>
                <c:pt idx="32">
                  <c:v>8.1587501639798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K$2:$K$34</c:f>
              <c:numCache>
                <c:formatCode>General</c:formatCode>
                <c:ptCount val="33"/>
                <c:pt idx="0">
                  <c:v>0.32754915642785537</c:v>
                </c:pt>
                <c:pt idx="1">
                  <c:v>0.18424640049066862</c:v>
                </c:pt>
                <c:pt idx="2">
                  <c:v>0.18424640049066862</c:v>
                </c:pt>
                <c:pt idx="3">
                  <c:v>9.2123200245334311E-2</c:v>
                </c:pt>
                <c:pt idx="4">
                  <c:v>7.1651377968593361E-2</c:v>
                </c:pt>
                <c:pt idx="5">
                  <c:v>0.12283093366044574</c:v>
                </c:pt>
                <c:pt idx="6">
                  <c:v>0.11259502252207527</c:v>
                </c:pt>
                <c:pt idx="7">
                  <c:v>0.17401048935229815</c:v>
                </c:pt>
                <c:pt idx="8">
                  <c:v>0.20471822276740961</c:v>
                </c:pt>
                <c:pt idx="9">
                  <c:v>0.22519004504415055</c:v>
                </c:pt>
                <c:pt idx="10">
                  <c:v>0.4810878235034125</c:v>
                </c:pt>
                <c:pt idx="11">
                  <c:v>0.73698560196267449</c:v>
                </c:pt>
                <c:pt idx="12">
                  <c:v>0.87005244676149074</c:v>
                </c:pt>
                <c:pt idx="13">
                  <c:v>1.1771297809126051</c:v>
                </c:pt>
                <c:pt idx="14">
                  <c:v>1.3716120925416444</c:v>
                </c:pt>
                <c:pt idx="15">
                  <c:v>1.8731717383217978</c:v>
                </c:pt>
                <c:pt idx="16">
                  <c:v>3.3471429422471473</c:v>
                </c:pt>
                <c:pt idx="17">
                  <c:v>6.1415466830222885</c:v>
                </c:pt>
                <c:pt idx="18">
                  <c:v>10.696527139597151</c:v>
                </c:pt>
                <c:pt idx="19">
                  <c:v>15.579056752599872</c:v>
                </c:pt>
                <c:pt idx="20">
                  <c:v>19.01832289509235</c:v>
                </c:pt>
                <c:pt idx="21">
                  <c:v>22.65207134921387</c:v>
                </c:pt>
                <c:pt idx="22">
                  <c:v>26.081101580567985</c:v>
                </c:pt>
                <c:pt idx="23">
                  <c:v>26.070865669429612</c:v>
                </c:pt>
                <c:pt idx="24">
                  <c:v>22.744194549459205</c:v>
                </c:pt>
                <c:pt idx="25">
                  <c:v>18.844312405740052</c:v>
                </c:pt>
                <c:pt idx="26">
                  <c:v>15.016081639989494</c:v>
                </c:pt>
                <c:pt idx="27">
                  <c:v>11.484692297251678</c:v>
                </c:pt>
                <c:pt idx="28">
                  <c:v>9.4068023361624711</c:v>
                </c:pt>
                <c:pt idx="29">
                  <c:v>8.1580211772812721</c:v>
                </c:pt>
                <c:pt idx="30">
                  <c:v>8.3832112223254232</c:v>
                </c:pt>
                <c:pt idx="31">
                  <c:v>10.379213894307666</c:v>
                </c:pt>
                <c:pt idx="32">
                  <c:v>12.0579033210004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E$2:$E$34</c:f>
              <c:numCache>
                <c:formatCode>General</c:formatCode>
                <c:ptCount val="33"/>
                <c:pt idx="0">
                  <c:v>0.28136257546604193</c:v>
                </c:pt>
                <c:pt idx="1">
                  <c:v>0.18757505031069463</c:v>
                </c:pt>
                <c:pt idx="2">
                  <c:v>0.14068128773302097</c:v>
                </c:pt>
                <c:pt idx="3">
                  <c:v>0.13947888356436267</c:v>
                </c:pt>
                <c:pt idx="4">
                  <c:v>0.128657246046438</c:v>
                </c:pt>
                <c:pt idx="5">
                  <c:v>0.128657246046438</c:v>
                </c:pt>
                <c:pt idx="6">
                  <c:v>0.16232456276887033</c:v>
                </c:pt>
                <c:pt idx="7">
                  <c:v>0.24408804623763466</c:v>
                </c:pt>
                <c:pt idx="8">
                  <c:v>0.34749480474224836</c:v>
                </c:pt>
                <c:pt idx="9">
                  <c:v>0.51823619669172682</c:v>
                </c:pt>
                <c:pt idx="10">
                  <c:v>0.71783528868900448</c:v>
                </c:pt>
                <c:pt idx="11">
                  <c:v>0.91502957234896543</c:v>
                </c:pt>
                <c:pt idx="12">
                  <c:v>1.0160315225162626</c:v>
                </c:pt>
                <c:pt idx="13">
                  <c:v>0.95831612242066411</c:v>
                </c:pt>
                <c:pt idx="14">
                  <c:v>0.94388727239676462</c:v>
                </c:pt>
                <c:pt idx="15">
                  <c:v>1.0208411391908956</c:v>
                </c:pt>
                <c:pt idx="16">
                  <c:v>1.2553099520792641</c:v>
                </c:pt>
                <c:pt idx="17">
                  <c:v>1.7326644070366088</c:v>
                </c:pt>
                <c:pt idx="18">
                  <c:v>2.4492972915569546</c:v>
                </c:pt>
                <c:pt idx="19">
                  <c:v>3.3174331013282461</c:v>
                </c:pt>
                <c:pt idx="20">
                  <c:v>4.2504987362070867</c:v>
                </c:pt>
                <c:pt idx="21">
                  <c:v>5.312221617132364</c:v>
                </c:pt>
                <c:pt idx="22">
                  <c:v>6.2909786104202201</c:v>
                </c:pt>
                <c:pt idx="23">
                  <c:v>6.4352671106592156</c:v>
                </c:pt>
                <c:pt idx="24">
                  <c:v>6.0288545016527104</c:v>
                </c:pt>
                <c:pt idx="25">
                  <c:v>5.330257679662239</c:v>
                </c:pt>
                <c:pt idx="26">
                  <c:v>4.1963905486174635</c:v>
                </c:pt>
                <c:pt idx="27">
                  <c:v>3.1995974927997337</c:v>
                </c:pt>
                <c:pt idx="28">
                  <c:v>2.458916524906221</c:v>
                </c:pt>
                <c:pt idx="29">
                  <c:v>1.9851692824548515</c:v>
                </c:pt>
                <c:pt idx="30">
                  <c:v>1.814427890505373</c:v>
                </c:pt>
                <c:pt idx="31">
                  <c:v>1.8096182738307398</c:v>
                </c:pt>
                <c:pt idx="32">
                  <c:v>1.63526966937528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G$2:$G$34</c:f>
              <c:numCache>
                <c:formatCode>General</c:formatCode>
                <c:ptCount val="33"/>
                <c:pt idx="0">
                  <c:v>9.1913955899109501E-2</c:v>
                </c:pt>
                <c:pt idx="1">
                  <c:v>0.1034032003864982</c:v>
                </c:pt>
                <c:pt idx="2">
                  <c:v>0.14936017833605295</c:v>
                </c:pt>
                <c:pt idx="3">
                  <c:v>0.24701875647885677</c:v>
                </c:pt>
                <c:pt idx="4">
                  <c:v>0.35042195686535493</c:v>
                </c:pt>
                <c:pt idx="5">
                  <c:v>0.47680364622663046</c:v>
                </c:pt>
                <c:pt idx="6">
                  <c:v>0.53424986866357393</c:v>
                </c:pt>
                <c:pt idx="7">
                  <c:v>0.46531440173924177</c:v>
                </c:pt>
                <c:pt idx="8">
                  <c:v>0.49978213520140785</c:v>
                </c:pt>
                <c:pt idx="9">
                  <c:v>0.51127137968879655</c:v>
                </c:pt>
                <c:pt idx="10">
                  <c:v>0.45382515725185313</c:v>
                </c:pt>
                <c:pt idx="11">
                  <c:v>0.47105902398293614</c:v>
                </c:pt>
                <c:pt idx="12">
                  <c:v>0.367655823596438</c:v>
                </c:pt>
                <c:pt idx="13">
                  <c:v>0.29297573442841152</c:v>
                </c:pt>
                <c:pt idx="14">
                  <c:v>0.29872035667210589</c:v>
                </c:pt>
                <c:pt idx="15">
                  <c:v>0.40212355705860409</c:v>
                </c:pt>
                <c:pt idx="16">
                  <c:v>0.74105626943657033</c:v>
                </c:pt>
                <c:pt idx="17">
                  <c:v>1.252327649125367</c:v>
                </c:pt>
                <c:pt idx="18">
                  <c:v>1.7463651620830807</c:v>
                </c:pt>
                <c:pt idx="19">
                  <c:v>2.0910424967047412</c:v>
                </c:pt>
                <c:pt idx="20">
                  <c:v>2.9757143222336699</c:v>
                </c:pt>
                <c:pt idx="21">
                  <c:v>4.2050634823842596</c:v>
                </c:pt>
                <c:pt idx="22">
                  <c:v>4.7910149512410829</c:v>
                </c:pt>
                <c:pt idx="23">
                  <c:v>4.8369719291906375</c:v>
                </c:pt>
                <c:pt idx="24">
                  <c:v>4.130383393216233</c:v>
                </c:pt>
                <c:pt idx="25">
                  <c:v>2.7918864104354508</c:v>
                </c:pt>
                <c:pt idx="26">
                  <c:v>1.8325344957384955</c:v>
                </c:pt>
                <c:pt idx="27">
                  <c:v>1.235093782394284</c:v>
                </c:pt>
                <c:pt idx="28">
                  <c:v>0.8387148475793742</c:v>
                </c:pt>
                <c:pt idx="29">
                  <c:v>0.65488693578115509</c:v>
                </c:pt>
                <c:pt idx="30">
                  <c:v>0.56871760212574007</c:v>
                </c:pt>
                <c:pt idx="31">
                  <c:v>0.57446222436943439</c:v>
                </c:pt>
                <c:pt idx="32">
                  <c:v>0.654886935781155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J$2:$J$34</c:f>
              <c:numCache>
                <c:formatCode>General</c:formatCode>
                <c:ptCount val="33"/>
                <c:pt idx="0">
                  <c:v>0.68233062433146752</c:v>
                </c:pt>
                <c:pt idx="1">
                  <c:v>0.48737901737961964</c:v>
                </c:pt>
                <c:pt idx="2">
                  <c:v>0.35302047745334614</c:v>
                </c:pt>
                <c:pt idx="3">
                  <c:v>0.21602745635204759</c:v>
                </c:pt>
                <c:pt idx="4">
                  <c:v>0.12908957757622355</c:v>
                </c:pt>
                <c:pt idx="5">
                  <c:v>0.12645509640119862</c:v>
                </c:pt>
                <c:pt idx="6">
                  <c:v>0.11328269052607376</c:v>
                </c:pt>
                <c:pt idx="7">
                  <c:v>8.9572359950849015E-2</c:v>
                </c:pt>
                <c:pt idx="8">
                  <c:v>0.1080137281760238</c:v>
                </c:pt>
                <c:pt idx="9">
                  <c:v>0.16070335167652322</c:v>
                </c:pt>
                <c:pt idx="10">
                  <c:v>0.21866193752707258</c:v>
                </c:pt>
                <c:pt idx="11">
                  <c:v>0.28452396690269688</c:v>
                </c:pt>
                <c:pt idx="12">
                  <c:v>0.38463425155364572</c:v>
                </c:pt>
                <c:pt idx="13">
                  <c:v>0.545337603230169</c:v>
                </c:pt>
                <c:pt idx="14">
                  <c:v>0.78244090898241636</c:v>
                </c:pt>
                <c:pt idx="15">
                  <c:v>1.1064820935104878</c:v>
                </c:pt>
                <c:pt idx="16">
                  <c:v>1.5227301191644331</c:v>
                </c:pt>
                <c:pt idx="17">
                  <c:v>2.3657640951724237</c:v>
                </c:pt>
                <c:pt idx="18">
                  <c:v>3.4643427451578366</c:v>
                </c:pt>
                <c:pt idx="19">
                  <c:v>4.9185763537716207</c:v>
                </c:pt>
                <c:pt idx="20">
                  <c:v>8.1431813120021843</c:v>
                </c:pt>
                <c:pt idx="21">
                  <c:v>11.062186453929852</c:v>
                </c:pt>
                <c:pt idx="22">
                  <c:v>12.829923322371609</c:v>
                </c:pt>
                <c:pt idx="23">
                  <c:v>14.365825847411168</c:v>
                </c:pt>
                <c:pt idx="24">
                  <c:v>15.319508032770205</c:v>
                </c:pt>
                <c:pt idx="25">
                  <c:v>15.398542468020954</c:v>
                </c:pt>
                <c:pt idx="26">
                  <c:v>16.083507573527449</c:v>
                </c:pt>
                <c:pt idx="27">
                  <c:v>14.294694855685492</c:v>
                </c:pt>
                <c:pt idx="28">
                  <c:v>12.445289070817962</c:v>
                </c:pt>
                <c:pt idx="29">
                  <c:v>10.804007298777405</c:v>
                </c:pt>
                <c:pt idx="30">
                  <c:v>7.518809273521267</c:v>
                </c:pt>
                <c:pt idx="31">
                  <c:v>7.1868646454681206</c:v>
                </c:pt>
                <c:pt idx="32">
                  <c:v>7.74800913574843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B$2:$B$34</c:f>
              <c:numCache>
                <c:formatCode>General</c:formatCode>
                <c:ptCount val="33"/>
                <c:pt idx="0">
                  <c:v>0.23592685099219599</c:v>
                </c:pt>
                <c:pt idx="1">
                  <c:v>0.12358073147210266</c:v>
                </c:pt>
                <c:pt idx="2">
                  <c:v>6.7407671712056E-2</c:v>
                </c:pt>
                <c:pt idx="3">
                  <c:v>0.10111150756808399</c:v>
                </c:pt>
                <c:pt idx="4">
                  <c:v>0.10111150756808399</c:v>
                </c:pt>
                <c:pt idx="5">
                  <c:v>0.14604995537612134</c:v>
                </c:pt>
                <c:pt idx="6">
                  <c:v>0.19098840318415863</c:v>
                </c:pt>
                <c:pt idx="7">
                  <c:v>0.16851917928013999</c:v>
                </c:pt>
                <c:pt idx="8">
                  <c:v>0.38197680636831727</c:v>
                </c:pt>
                <c:pt idx="9">
                  <c:v>0.71901516492859729</c:v>
                </c:pt>
                <c:pt idx="10">
                  <c:v>0.84259589640069998</c:v>
                </c:pt>
                <c:pt idx="11">
                  <c:v>1.145930419104952</c:v>
                </c:pt>
                <c:pt idx="12">
                  <c:v>1.4717341657132226</c:v>
                </c:pt>
                <c:pt idx="13">
                  <c:v>1.3818572700971479</c:v>
                </c:pt>
                <c:pt idx="14">
                  <c:v>1.3144495983850919</c:v>
                </c:pt>
                <c:pt idx="15">
                  <c:v>1.550376449377288</c:v>
                </c:pt>
                <c:pt idx="16">
                  <c:v>1.6851917928014</c:v>
                </c:pt>
                <c:pt idx="17">
                  <c:v>1.8424763601295304</c:v>
                </c:pt>
                <c:pt idx="18">
                  <c:v>2.6963068684822398</c:v>
                </c:pt>
                <c:pt idx="19">
                  <c:v>4.6511293481318638</c:v>
                </c:pt>
                <c:pt idx="20">
                  <c:v>6.4149634245973282</c:v>
                </c:pt>
                <c:pt idx="21">
                  <c:v>7.8192899185984963</c:v>
                </c:pt>
                <c:pt idx="22">
                  <c:v>8.6169473671911589</c:v>
                </c:pt>
                <c:pt idx="23">
                  <c:v>7.5945976795583094</c:v>
                </c:pt>
                <c:pt idx="24">
                  <c:v>5.7071828716207404</c:v>
                </c:pt>
                <c:pt idx="25">
                  <c:v>3.5276681529309304</c:v>
                </c:pt>
                <c:pt idx="26">
                  <c:v>2.258157002353876</c:v>
                </c:pt>
                <c:pt idx="27">
                  <c:v>1.7975379123214932</c:v>
                </c:pt>
                <c:pt idx="28">
                  <c:v>1.3930918820491573</c:v>
                </c:pt>
                <c:pt idx="29">
                  <c:v>1.3481534342411199</c:v>
                </c:pt>
                <c:pt idx="30">
                  <c:v>1.651487956945372</c:v>
                </c:pt>
                <c:pt idx="31">
                  <c:v>2.224453166497848</c:v>
                </c:pt>
                <c:pt idx="32">
                  <c:v>2.51655307725009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L$2:$L$34</c:f>
              <c:numCache>
                <c:formatCode>General</c:formatCode>
                <c:ptCount val="33"/>
                <c:pt idx="0">
                  <c:v>0.31147665033612915</c:v>
                </c:pt>
                <c:pt idx="1">
                  <c:v>0.21986587082550288</c:v>
                </c:pt>
                <c:pt idx="2">
                  <c:v>0.25651018262975339</c:v>
                </c:pt>
                <c:pt idx="3">
                  <c:v>0.23818802672762815</c:v>
                </c:pt>
                <c:pt idx="4">
                  <c:v>0.23818802672762815</c:v>
                </c:pt>
                <c:pt idx="5">
                  <c:v>0.1282550913148767</c:v>
                </c:pt>
                <c:pt idx="6">
                  <c:v>7.3288623608500969E-2</c:v>
                </c:pt>
                <c:pt idx="7">
                  <c:v>0.10993293541275144</c:v>
                </c:pt>
                <c:pt idx="8">
                  <c:v>7.3288623608500969E-2</c:v>
                </c:pt>
                <c:pt idx="9">
                  <c:v>7.3288623608500969E-2</c:v>
                </c:pt>
                <c:pt idx="10">
                  <c:v>0.21986587082550288</c:v>
                </c:pt>
                <c:pt idx="11">
                  <c:v>0.40308742984675533</c:v>
                </c:pt>
                <c:pt idx="12">
                  <c:v>0.65959761247650872</c:v>
                </c:pt>
                <c:pt idx="13">
                  <c:v>1.8871820579188998</c:v>
                </c:pt>
                <c:pt idx="14">
                  <c:v>2.5467796703954084</c:v>
                </c:pt>
                <c:pt idx="15">
                  <c:v>3.2613437505782934</c:v>
                </c:pt>
                <c:pt idx="16">
                  <c:v>3.3346323741867936</c:v>
                </c:pt>
                <c:pt idx="17">
                  <c:v>3.4995317773059207</c:v>
                </c:pt>
                <c:pt idx="18">
                  <c:v>6.4493988775480853</c:v>
                </c:pt>
                <c:pt idx="19">
                  <c:v>10.132152213875258</c:v>
                </c:pt>
                <c:pt idx="20">
                  <c:v>11.909401336381407</c:v>
                </c:pt>
                <c:pt idx="21">
                  <c:v>13.613361835279056</c:v>
                </c:pt>
                <c:pt idx="22">
                  <c:v>17.974034939984861</c:v>
                </c:pt>
                <c:pt idx="23">
                  <c:v>19.677995438882508</c:v>
                </c:pt>
                <c:pt idx="24">
                  <c:v>21.400278093682282</c:v>
                </c:pt>
                <c:pt idx="25">
                  <c:v>18.871820579188999</c:v>
                </c:pt>
                <c:pt idx="26">
                  <c:v>12.312488766228164</c:v>
                </c:pt>
                <c:pt idx="27">
                  <c:v>9.9672528107561327</c:v>
                </c:pt>
                <c:pt idx="28">
                  <c:v>11.213159412100648</c:v>
                </c:pt>
                <c:pt idx="29">
                  <c:v>12.568998948857915</c:v>
                </c:pt>
                <c:pt idx="30">
                  <c:v>8.7579905212158664</c:v>
                </c:pt>
                <c:pt idx="31">
                  <c:v>5.4600024588333218</c:v>
                </c:pt>
                <c:pt idx="32">
                  <c:v>5.03859287308444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34</c:f>
              <c:numCache>
                <c:formatCode>General</c:formatCode>
                <c:ptCount val="33"/>
                <c:pt idx="0">
                  <c:v>0.41831621638306304</c:v>
                </c:pt>
                <c:pt idx="1">
                  <c:v>0.36338580413074162</c:v>
                </c:pt>
                <c:pt idx="2">
                  <c:v>0.50493725108864684</c:v>
                </c:pt>
                <c:pt idx="3">
                  <c:v>1.054241373611861</c:v>
                </c:pt>
                <c:pt idx="4">
                  <c:v>1.8148163124901573</c:v>
                </c:pt>
                <c:pt idx="5">
                  <c:v>2.4211635554292439</c:v>
                </c:pt>
                <c:pt idx="6">
                  <c:v>2.911311849373035</c:v>
                </c:pt>
                <c:pt idx="7">
                  <c:v>2.9937074677515172</c:v>
                </c:pt>
                <c:pt idx="8">
                  <c:v>2.6598995779104868</c:v>
                </c:pt>
                <c:pt idx="9">
                  <c:v>2.3134154390881516</c:v>
                </c:pt>
                <c:pt idx="10">
                  <c:v>1.9077754716863935</c:v>
                </c:pt>
                <c:pt idx="11">
                  <c:v>1.5380515430649997</c:v>
                </c:pt>
                <c:pt idx="12">
                  <c:v>1.1831165715884613</c:v>
                </c:pt>
                <c:pt idx="13">
                  <c:v>0.84930868174743113</c:v>
                </c:pt>
                <c:pt idx="14">
                  <c:v>0.659164947027857</c:v>
                </c:pt>
                <c:pt idx="15">
                  <c:v>0.5345151653783583</c:v>
                </c:pt>
                <c:pt idx="16">
                  <c:v>0.49859912659799438</c:v>
                </c:pt>
                <c:pt idx="17">
                  <c:v>0.47113392047183367</c:v>
                </c:pt>
                <c:pt idx="18">
                  <c:v>0.41197809189241058</c:v>
                </c:pt>
                <c:pt idx="19">
                  <c:v>0.50493725108864684</c:v>
                </c:pt>
                <c:pt idx="20">
                  <c:v>0.60845995110263718</c:v>
                </c:pt>
                <c:pt idx="21">
                  <c:v>0.6211362000839421</c:v>
                </c:pt>
                <c:pt idx="22">
                  <c:v>0.81973076745771967</c:v>
                </c:pt>
                <c:pt idx="23">
                  <c:v>1.0795938715744708</c:v>
                </c:pt>
                <c:pt idx="24">
                  <c:v>1.3605840573267303</c:v>
                </c:pt>
                <c:pt idx="25">
                  <c:v>1.664814032878049</c:v>
                </c:pt>
                <c:pt idx="26">
                  <c:v>2.0408760859900954</c:v>
                </c:pt>
                <c:pt idx="27">
                  <c:v>2.5986310411675131</c:v>
                </c:pt>
                <c:pt idx="28">
                  <c:v>3.4880811780224095</c:v>
                </c:pt>
                <c:pt idx="29">
                  <c:v>4.3247136107885362</c:v>
                </c:pt>
                <c:pt idx="30">
                  <c:v>4.9458498108724775</c:v>
                </c:pt>
                <c:pt idx="31">
                  <c:v>4.8740177333117503</c:v>
                </c:pt>
                <c:pt idx="32">
                  <c:v>3.37822035351776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402A-4B81-99E3-A430AA945502}"/>
              </c:ext>
            </c:extLst>
          </c:dPt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H$2:$H$34</c:f>
              <c:numCache>
                <c:formatCode>General</c:formatCode>
                <c:ptCount val="33"/>
                <c:pt idx="0">
                  <c:v>0.42609548009228287</c:v>
                </c:pt>
                <c:pt idx="1">
                  <c:v>0.62591956730797416</c:v>
                </c:pt>
                <c:pt idx="2">
                  <c:v>0.90067768722954977</c:v>
                </c:pt>
                <c:pt idx="3">
                  <c:v>1.257716313651704</c:v>
                </c:pt>
                <c:pt idx="4">
                  <c:v>1.6279785929043082</c:v>
                </c:pt>
                <c:pt idx="5">
                  <c:v>1.7837238373518325</c:v>
                </c:pt>
                <c:pt idx="6">
                  <c:v>1.8410263329504497</c:v>
                </c:pt>
                <c:pt idx="7">
                  <c:v>2.0467275992018967</c:v>
                </c:pt>
                <c:pt idx="8">
                  <c:v>2.3141392453287777</c:v>
                </c:pt>
                <c:pt idx="9">
                  <c:v>2.5536342910358192</c:v>
                </c:pt>
                <c:pt idx="10">
                  <c:v>2.8460239480646621</c:v>
                </c:pt>
                <c:pt idx="11">
                  <c:v>2.9591596445029578</c:v>
                </c:pt>
                <c:pt idx="12">
                  <c:v>2.7637434415640829</c:v>
                </c:pt>
                <c:pt idx="13">
                  <c:v>2.4860467321246298</c:v>
                </c:pt>
                <c:pt idx="14">
                  <c:v>2.3200164243645336</c:v>
                </c:pt>
                <c:pt idx="15">
                  <c:v>2.4860467321246298</c:v>
                </c:pt>
                <c:pt idx="16">
                  <c:v>2.8342695899931507</c:v>
                </c:pt>
                <c:pt idx="17">
                  <c:v>3.2295098801477167</c:v>
                </c:pt>
                <c:pt idx="18">
                  <c:v>3.4190489040508356</c:v>
                </c:pt>
                <c:pt idx="19">
                  <c:v>3.1633916159954656</c:v>
                </c:pt>
                <c:pt idx="20">
                  <c:v>2.8680633694487456</c:v>
                </c:pt>
                <c:pt idx="21">
                  <c:v>2.671177871750932</c:v>
                </c:pt>
                <c:pt idx="22">
                  <c:v>2.5080861535087133</c:v>
                </c:pt>
                <c:pt idx="23">
                  <c:v>2.4243363522491954</c:v>
                </c:pt>
                <c:pt idx="24">
                  <c:v>2.3479330247843726</c:v>
                </c:pt>
                <c:pt idx="25">
                  <c:v>2.3582180880969448</c:v>
                </c:pt>
                <c:pt idx="28">
                  <c:v>5.1807333200185841</c:v>
                </c:pt>
                <c:pt idx="29">
                  <c:v>5.5318947674049834</c:v>
                </c:pt>
                <c:pt idx="30">
                  <c:v>4.4989805518709316</c:v>
                </c:pt>
                <c:pt idx="31">
                  <c:v>3.9494643120277808</c:v>
                </c:pt>
                <c:pt idx="32">
                  <c:v>4.05672282943032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0982784"/>
        <c:axId val="400481576"/>
      </c:lineChart>
      <c:catAx>
        <c:axId val="360982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1576"/>
        <c:crosses val="autoZero"/>
        <c:auto val="1"/>
        <c:lblAlgn val="ctr"/>
        <c:lblOffset val="100"/>
        <c:tickLblSkip val="1"/>
        <c:noMultiLvlLbl val="1"/>
      </c:catAx>
      <c:valAx>
        <c:axId val="400481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609827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I$2:$I$34</c:f>
              <c:numCache>
                <c:formatCode>General</c:formatCode>
                <c:ptCount val="33"/>
                <c:pt idx="0">
                  <c:v>0.1909317818101027</c:v>
                </c:pt>
                <c:pt idx="1">
                  <c:v>0.11282332561506069</c:v>
                </c:pt>
                <c:pt idx="2">
                  <c:v>7.8108456195042017E-2</c:v>
                </c:pt>
                <c:pt idx="3">
                  <c:v>0.12150204297006537</c:v>
                </c:pt>
                <c:pt idx="4">
                  <c:v>0.1909317818101027</c:v>
                </c:pt>
                <c:pt idx="5">
                  <c:v>0.22564665123012137</c:v>
                </c:pt>
                <c:pt idx="6">
                  <c:v>0.19961049916510737</c:v>
                </c:pt>
                <c:pt idx="7">
                  <c:v>0.3818635636202054</c:v>
                </c:pt>
                <c:pt idx="8">
                  <c:v>0.30375510742516343</c:v>
                </c:pt>
                <c:pt idx="9">
                  <c:v>0.39922099833021474</c:v>
                </c:pt>
                <c:pt idx="10">
                  <c:v>0.45129330246024274</c:v>
                </c:pt>
                <c:pt idx="11">
                  <c:v>0.3818635636202054</c:v>
                </c:pt>
                <c:pt idx="12">
                  <c:v>0.46865073717025213</c:v>
                </c:pt>
                <c:pt idx="13">
                  <c:v>0.52072304130028013</c:v>
                </c:pt>
                <c:pt idx="14">
                  <c:v>0.56411662807530349</c:v>
                </c:pt>
                <c:pt idx="15">
                  <c:v>0.78976327930542489</c:v>
                </c:pt>
                <c:pt idx="16">
                  <c:v>0.95465890905051365</c:v>
                </c:pt>
                <c:pt idx="17">
                  <c:v>1.3104863206057051</c:v>
                </c:pt>
                <c:pt idx="18">
                  <c:v>1.3712373420907378</c:v>
                </c:pt>
                <c:pt idx="19">
                  <c:v>1.7270647536459289</c:v>
                </c:pt>
                <c:pt idx="20">
                  <c:v>2.2998600990762372</c:v>
                </c:pt>
                <c:pt idx="21">
                  <c:v>2.6122939238564054</c:v>
                </c:pt>
                <c:pt idx="22">
                  <c:v>3.0549085089616432</c:v>
                </c:pt>
                <c:pt idx="23">
                  <c:v>2.7337959668264706</c:v>
                </c:pt>
                <c:pt idx="24">
                  <c:v>2.2391090775912046</c:v>
                </c:pt>
                <c:pt idx="25">
                  <c:v>1.9266752528110367</c:v>
                </c:pt>
                <c:pt idx="26">
                  <c:v>1.4319883635757704</c:v>
                </c:pt>
                <c:pt idx="27">
                  <c:v>1.1629481255706258</c:v>
                </c:pt>
                <c:pt idx="28">
                  <c:v>1.2497352991206723</c:v>
                </c:pt>
                <c:pt idx="29">
                  <c:v>1.5621691239008404</c:v>
                </c:pt>
                <c:pt idx="30">
                  <c:v>2.0134624263610834</c:v>
                </c:pt>
                <c:pt idx="31">
                  <c:v>2.6036152065014009</c:v>
                </c:pt>
                <c:pt idx="32">
                  <c:v>2.61229392385640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C$2:$C$34</c:f>
              <c:numCache>
                <c:formatCode>General</c:formatCode>
                <c:ptCount val="33"/>
                <c:pt idx="0">
                  <c:v>6.5457639135588858E-2</c:v>
                </c:pt>
                <c:pt idx="1">
                  <c:v>2.8053273915252371E-2</c:v>
                </c:pt>
                <c:pt idx="2">
                  <c:v>2.8053273915252371E-2</c:v>
                </c:pt>
                <c:pt idx="3">
                  <c:v>2.8053273915252371E-2</c:v>
                </c:pt>
                <c:pt idx="4">
                  <c:v>3.7404365220336494E-2</c:v>
                </c:pt>
                <c:pt idx="5">
                  <c:v>3.7404365220336494E-2</c:v>
                </c:pt>
                <c:pt idx="6">
                  <c:v>4.6755456525420618E-2</c:v>
                </c:pt>
                <c:pt idx="7">
                  <c:v>8.4159821745757105E-2</c:v>
                </c:pt>
                <c:pt idx="8">
                  <c:v>7.4808730440672988E-2</c:v>
                </c:pt>
                <c:pt idx="9">
                  <c:v>1.8702182610168247E-2</c:v>
                </c:pt>
                <c:pt idx="10">
                  <c:v>5.6106547830504741E-2</c:v>
                </c:pt>
                <c:pt idx="11">
                  <c:v>0.14026636957626185</c:v>
                </c:pt>
                <c:pt idx="12">
                  <c:v>0.1215641869660936</c:v>
                </c:pt>
                <c:pt idx="13">
                  <c:v>0.14026636957626185</c:v>
                </c:pt>
                <c:pt idx="14">
                  <c:v>0.2431283739321872</c:v>
                </c:pt>
                <c:pt idx="15">
                  <c:v>0.4956078391694585</c:v>
                </c:pt>
                <c:pt idx="16">
                  <c:v>0.81354494354231877</c:v>
                </c:pt>
                <c:pt idx="17">
                  <c:v>1.5335789740337964</c:v>
                </c:pt>
                <c:pt idx="18">
                  <c:v>2.8520828480506575</c:v>
                </c:pt>
                <c:pt idx="19">
                  <c:v>4.3108530916437804</c:v>
                </c:pt>
                <c:pt idx="20">
                  <c:v>6.4241997265927928</c:v>
                </c:pt>
                <c:pt idx="21">
                  <c:v>7.1629359396944379</c:v>
                </c:pt>
                <c:pt idx="22">
                  <c:v>7.7707568745249063</c:v>
                </c:pt>
                <c:pt idx="23">
                  <c:v>7.5089263179825503</c:v>
                </c:pt>
                <c:pt idx="24">
                  <c:v>6.6299237353046436</c:v>
                </c:pt>
                <c:pt idx="25">
                  <c:v>4.974780574304754</c:v>
                </c:pt>
                <c:pt idx="26">
                  <c:v>3.8152452524743219</c:v>
                </c:pt>
                <c:pt idx="27">
                  <c:v>3.0858601306777604</c:v>
                </c:pt>
                <c:pt idx="28">
                  <c:v>2.2723151871354421</c:v>
                </c:pt>
                <c:pt idx="29">
                  <c:v>1.4868235175083755</c:v>
                </c:pt>
                <c:pt idx="30">
                  <c:v>1.4681213348982074</c:v>
                </c:pt>
                <c:pt idx="31">
                  <c:v>2.7679230263049006</c:v>
                </c:pt>
                <c:pt idx="32">
                  <c:v>3.45990378288112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D$2:$D$34</c:f>
              <c:numCache>
                <c:formatCode>General</c:formatCode>
                <c:ptCount val="33"/>
                <c:pt idx="0">
                  <c:v>0.30154389284787797</c:v>
                </c:pt>
                <c:pt idx="1">
                  <c:v>0.24212637701578379</c:v>
                </c:pt>
                <c:pt idx="2">
                  <c:v>0.18122342328788726</c:v>
                </c:pt>
                <c:pt idx="3">
                  <c:v>0.21390305699553905</c:v>
                </c:pt>
                <c:pt idx="4">
                  <c:v>0.4278061139910781</c:v>
                </c:pt>
                <c:pt idx="5">
                  <c:v>0.52138870142662652</c:v>
                </c:pt>
                <c:pt idx="6">
                  <c:v>0.69072862154809478</c:v>
                </c:pt>
                <c:pt idx="7">
                  <c:v>1.2210299503495354</c:v>
                </c:pt>
                <c:pt idx="8">
                  <c:v>1.0947677292063354</c:v>
                </c:pt>
                <c:pt idx="9">
                  <c:v>1.0219812723120199</c:v>
                </c:pt>
                <c:pt idx="10">
                  <c:v>0.90611711643943627</c:v>
                </c:pt>
                <c:pt idx="11">
                  <c:v>0.72489369315154906</c:v>
                </c:pt>
                <c:pt idx="12">
                  <c:v>0.60308778569575594</c:v>
                </c:pt>
                <c:pt idx="13">
                  <c:v>0.49167994351057936</c:v>
                </c:pt>
                <c:pt idx="14">
                  <c:v>0.36541772236737918</c:v>
                </c:pt>
                <c:pt idx="15">
                  <c:v>0.30748564443108739</c:v>
                </c:pt>
                <c:pt idx="16">
                  <c:v>0.30154389284787797</c:v>
                </c:pt>
                <c:pt idx="17">
                  <c:v>0.30600020653528504</c:v>
                </c:pt>
                <c:pt idx="18">
                  <c:v>0.34907790551355328</c:v>
                </c:pt>
                <c:pt idx="19">
                  <c:v>0.36541772236737918</c:v>
                </c:pt>
                <c:pt idx="20">
                  <c:v>0.48276731613576518</c:v>
                </c:pt>
                <c:pt idx="21">
                  <c:v>0.69221405944389724</c:v>
                </c:pt>
                <c:pt idx="22">
                  <c:v>0.94622393962609985</c:v>
                </c:pt>
                <c:pt idx="23">
                  <c:v>1.3606611125549568</c:v>
                </c:pt>
                <c:pt idx="24">
                  <c:v>1.5775350453421004</c:v>
                </c:pt>
                <c:pt idx="25">
                  <c:v>1.7528167170467781</c:v>
                </c:pt>
                <c:pt idx="26">
                  <c:v>1.9875159045835504</c:v>
                </c:pt>
                <c:pt idx="27">
                  <c:v>2.2326131573909387</c:v>
                </c:pt>
                <c:pt idx="28">
                  <c:v>2.2964869869104398</c:v>
                </c:pt>
                <c:pt idx="29">
                  <c:v>2.5519823049884454</c:v>
                </c:pt>
                <c:pt idx="30">
                  <c:v>2.9679049158131043</c:v>
                </c:pt>
                <c:pt idx="31">
                  <c:v>3.0778273201024788</c:v>
                </c:pt>
                <c:pt idx="32">
                  <c:v>3.0302933074368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F$2:$F$34</c:f>
              <c:numCache>
                <c:formatCode>General</c:formatCode>
                <c:ptCount val="33"/>
                <c:pt idx="0">
                  <c:v>0.29677327970086864</c:v>
                </c:pt>
                <c:pt idx="1">
                  <c:v>0.21126233470231326</c:v>
                </c:pt>
                <c:pt idx="2">
                  <c:v>0.15425503803660967</c:v>
                </c:pt>
                <c:pt idx="3">
                  <c:v>0.13748818607610863</c:v>
                </c:pt>
                <c:pt idx="4">
                  <c:v>0.19449548274181222</c:v>
                </c:pt>
                <c:pt idx="5">
                  <c:v>0.2598862053877663</c:v>
                </c:pt>
                <c:pt idx="6">
                  <c:v>0.35545726156262231</c:v>
                </c:pt>
                <c:pt idx="7">
                  <c:v>0.53486257753998356</c:v>
                </c:pt>
                <c:pt idx="8">
                  <c:v>0.57342633704913593</c:v>
                </c:pt>
                <c:pt idx="9">
                  <c:v>0.70756115273314446</c:v>
                </c:pt>
                <c:pt idx="10">
                  <c:v>0.67738081920424253</c:v>
                </c:pt>
                <c:pt idx="11">
                  <c:v>0.65558391165559116</c:v>
                </c:pt>
                <c:pt idx="12">
                  <c:v>0.64887717087139074</c:v>
                </c:pt>
                <c:pt idx="13">
                  <c:v>0.56001285548073509</c:v>
                </c:pt>
                <c:pt idx="14">
                  <c:v>0.45270500293352844</c:v>
                </c:pt>
                <c:pt idx="15">
                  <c:v>0.40240444705202522</c:v>
                </c:pt>
                <c:pt idx="16">
                  <c:v>0.47785528087427998</c:v>
                </c:pt>
                <c:pt idx="17">
                  <c:v>0.45941174371772886</c:v>
                </c:pt>
                <c:pt idx="18">
                  <c:v>0.47785528087427998</c:v>
                </c:pt>
                <c:pt idx="19">
                  <c:v>0.65390722645954102</c:v>
                </c:pt>
                <c:pt idx="20">
                  <c:v>0.67402744881214238</c:v>
                </c:pt>
                <c:pt idx="21">
                  <c:v>0.83331254243690223</c:v>
                </c:pt>
                <c:pt idx="22">
                  <c:v>0.87355298714210494</c:v>
                </c:pt>
                <c:pt idx="23">
                  <c:v>1.0663717846878669</c:v>
                </c:pt>
                <c:pt idx="24">
                  <c:v>1.3581150088005851</c:v>
                </c:pt>
                <c:pt idx="25">
                  <c:v>1.626384640168602</c:v>
                </c:pt>
                <c:pt idx="26">
                  <c:v>1.735369177911859</c:v>
                </c:pt>
                <c:pt idx="27">
                  <c:v>2.3339457929017464</c:v>
                </c:pt>
                <c:pt idx="28">
                  <c:v>3.4640316150395178</c:v>
                </c:pt>
                <c:pt idx="29">
                  <c:v>4.0559014892452048</c:v>
                </c:pt>
                <c:pt idx="30">
                  <c:v>4.4029753248275769</c:v>
                </c:pt>
                <c:pt idx="31">
                  <c:v>4.3962685840433755</c:v>
                </c:pt>
                <c:pt idx="32">
                  <c:v>3.76248157993643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K$2:$K$34</c:f>
              <c:numCache>
                <c:formatCode>General</c:formatCode>
                <c:ptCount val="33"/>
                <c:pt idx="0">
                  <c:v>7.1651377968593361E-2</c:v>
                </c:pt>
                <c:pt idx="1">
                  <c:v>0.11259502252207527</c:v>
                </c:pt>
                <c:pt idx="2">
                  <c:v>7.1651377968593361E-2</c:v>
                </c:pt>
                <c:pt idx="3">
                  <c:v>2.0471822276740961E-2</c:v>
                </c:pt>
                <c:pt idx="4">
                  <c:v>5.1179555691852403E-2</c:v>
                </c:pt>
                <c:pt idx="5">
                  <c:v>7.1651377968593361E-2</c:v>
                </c:pt>
                <c:pt idx="6">
                  <c:v>4.0943644553481921E-2</c:v>
                </c:pt>
                <c:pt idx="7">
                  <c:v>0.13306684479881625</c:v>
                </c:pt>
                <c:pt idx="8">
                  <c:v>7.1651377968593361E-2</c:v>
                </c:pt>
                <c:pt idx="9">
                  <c:v>0.15353866707555719</c:v>
                </c:pt>
                <c:pt idx="10">
                  <c:v>0.32754915642785537</c:v>
                </c:pt>
                <c:pt idx="11">
                  <c:v>0.40943644553481923</c:v>
                </c:pt>
                <c:pt idx="12">
                  <c:v>0.46061600122667157</c:v>
                </c:pt>
                <c:pt idx="13">
                  <c:v>0.71651377968593355</c:v>
                </c:pt>
                <c:pt idx="14">
                  <c:v>0.65509831285571074</c:v>
                </c:pt>
                <c:pt idx="15">
                  <c:v>1.218073425466087</c:v>
                </c:pt>
                <c:pt idx="16">
                  <c:v>2.12906951678106</c:v>
                </c:pt>
                <c:pt idx="17">
                  <c:v>4.0124771662412284</c:v>
                </c:pt>
                <c:pt idx="18">
                  <c:v>6.6840499733559238</c:v>
                </c:pt>
                <c:pt idx="19">
                  <c:v>8.895006779243948</c:v>
                </c:pt>
                <c:pt idx="20">
                  <c:v>10.123316115848404</c:v>
                </c:pt>
                <c:pt idx="21">
                  <c:v>12.528755233365466</c:v>
                </c:pt>
                <c:pt idx="22">
                  <c:v>13.552346347202516</c:v>
                </c:pt>
                <c:pt idx="23">
                  <c:v>12.518519322227096</c:v>
                </c:pt>
                <c:pt idx="24">
                  <c:v>10.225675227232109</c:v>
                </c:pt>
                <c:pt idx="25">
                  <c:v>8.6186371785079441</c:v>
                </c:pt>
                <c:pt idx="26">
                  <c:v>6.39744446148155</c:v>
                </c:pt>
                <c:pt idx="27">
                  <c:v>5.0872478357701283</c:v>
                </c:pt>
                <c:pt idx="28">
                  <c:v>4.3195545003923419</c:v>
                </c:pt>
                <c:pt idx="29">
                  <c:v>3.8384666768889297</c:v>
                </c:pt>
                <c:pt idx="30">
                  <c:v>4.544744545436493</c:v>
                </c:pt>
                <c:pt idx="31">
                  <c:v>5.8344693488711741</c:v>
                </c:pt>
                <c:pt idx="32">
                  <c:v>6.22343397212925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E$2:$E$34</c:f>
              <c:numCache>
                <c:formatCode>General</c:formatCode>
                <c:ptCount val="33"/>
                <c:pt idx="0">
                  <c:v>0.1154308001911967</c:v>
                </c:pt>
                <c:pt idx="1">
                  <c:v>7.2144250119497932E-2</c:v>
                </c:pt>
                <c:pt idx="2">
                  <c:v>6.8537037613523033E-2</c:v>
                </c:pt>
                <c:pt idx="3">
                  <c:v>7.0941845950839633E-2</c:v>
                </c:pt>
                <c:pt idx="4">
                  <c:v>5.7715400095598349E-2</c:v>
                </c:pt>
                <c:pt idx="5">
                  <c:v>7.0941845950839633E-2</c:v>
                </c:pt>
                <c:pt idx="6">
                  <c:v>9.1382716818030715E-2</c:v>
                </c:pt>
                <c:pt idx="7">
                  <c:v>0.15270532941960396</c:v>
                </c:pt>
                <c:pt idx="8">
                  <c:v>0.1947894753226444</c:v>
                </c:pt>
                <c:pt idx="9">
                  <c:v>0.32344672136908242</c:v>
                </c:pt>
                <c:pt idx="10">
                  <c:v>0.394388567319922</c:v>
                </c:pt>
                <c:pt idx="11">
                  <c:v>0.52064100502904342</c:v>
                </c:pt>
                <c:pt idx="12">
                  <c:v>0.49539051748721913</c:v>
                </c:pt>
                <c:pt idx="13">
                  <c:v>0.46292560493344509</c:v>
                </c:pt>
                <c:pt idx="14">
                  <c:v>0.48096166746331959</c:v>
                </c:pt>
                <c:pt idx="15">
                  <c:v>0.53987947172757622</c:v>
                </c:pt>
                <c:pt idx="16">
                  <c:v>0.71543048035168777</c:v>
                </c:pt>
                <c:pt idx="17">
                  <c:v>1.0172339266849209</c:v>
                </c:pt>
                <c:pt idx="18">
                  <c:v>1.432063364872034</c:v>
                </c:pt>
                <c:pt idx="19">
                  <c:v>1.8853697364562128</c:v>
                </c:pt>
                <c:pt idx="20">
                  <c:v>2.365128999750874</c:v>
                </c:pt>
                <c:pt idx="21">
                  <c:v>2.9470926173814904</c:v>
                </c:pt>
                <c:pt idx="22">
                  <c:v>3.3438859930387288</c:v>
                </c:pt>
                <c:pt idx="23">
                  <c:v>3.091381117620486</c:v>
                </c:pt>
                <c:pt idx="24">
                  <c:v>2.9374733840322245</c:v>
                </c:pt>
                <c:pt idx="25">
                  <c:v>2.3927842956300145</c:v>
                </c:pt>
                <c:pt idx="26">
                  <c:v>1.8036062529874481</c:v>
                </c:pt>
                <c:pt idx="27">
                  <c:v>1.3959912398122851</c:v>
                </c:pt>
                <c:pt idx="28">
                  <c:v>1.0629252850939361</c:v>
                </c:pt>
                <c:pt idx="29">
                  <c:v>0.92224399736091534</c:v>
                </c:pt>
                <c:pt idx="30">
                  <c:v>0.89218389314445767</c:v>
                </c:pt>
                <c:pt idx="31">
                  <c:v>0.91743438068628202</c:v>
                </c:pt>
                <c:pt idx="32">
                  <c:v>0.717835288689004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G$2:$G$34</c:f>
              <c:numCache>
                <c:formatCode>General</c:formatCode>
                <c:ptCount val="33"/>
                <c:pt idx="0">
                  <c:v>4.0212355705860403E-2</c:v>
                </c:pt>
                <c:pt idx="1">
                  <c:v>6.3190844680637778E-2</c:v>
                </c:pt>
                <c:pt idx="2">
                  <c:v>8.6169333655415153E-2</c:v>
                </c:pt>
                <c:pt idx="3">
                  <c:v>0.16084942282344161</c:v>
                </c:pt>
                <c:pt idx="4">
                  <c:v>0.18957253404191335</c:v>
                </c:pt>
                <c:pt idx="5">
                  <c:v>0.2872311121847172</c:v>
                </c:pt>
                <c:pt idx="6">
                  <c:v>0.24701875647885677</c:v>
                </c:pt>
                <c:pt idx="7">
                  <c:v>0.21829564526038508</c:v>
                </c:pt>
                <c:pt idx="8">
                  <c:v>0.28148648994102282</c:v>
                </c:pt>
                <c:pt idx="9">
                  <c:v>0.22978488974777372</c:v>
                </c:pt>
                <c:pt idx="10">
                  <c:v>0.22404026750407943</c:v>
                </c:pt>
                <c:pt idx="11">
                  <c:v>0.24701875647885677</c:v>
                </c:pt>
                <c:pt idx="12">
                  <c:v>0.12063706711758121</c:v>
                </c:pt>
                <c:pt idx="13">
                  <c:v>0.17233866731083031</c:v>
                </c:pt>
                <c:pt idx="14">
                  <c:v>0.12638168936127556</c:v>
                </c:pt>
                <c:pt idx="15">
                  <c:v>0.2757418676973285</c:v>
                </c:pt>
                <c:pt idx="16">
                  <c:v>0.46531440173924177</c:v>
                </c:pt>
                <c:pt idx="17">
                  <c:v>0.7870132473861251</c:v>
                </c:pt>
                <c:pt idx="18">
                  <c:v>0.95935191469695535</c:v>
                </c:pt>
                <c:pt idx="19">
                  <c:v>1.1316905820077856</c:v>
                </c:pt>
                <c:pt idx="20">
                  <c:v>1.8440237402258841</c:v>
                </c:pt>
                <c:pt idx="21">
                  <c:v>2.3610397421583751</c:v>
                </c:pt>
                <c:pt idx="22">
                  <c:v>2.4299752090827074</c:v>
                </c:pt>
                <c:pt idx="23">
                  <c:v>2.4069967201079301</c:v>
                </c:pt>
                <c:pt idx="24">
                  <c:v>1.7233866731083032</c:v>
                </c:pt>
                <c:pt idx="25">
                  <c:v>1.0684997373271479</c:v>
                </c:pt>
                <c:pt idx="26">
                  <c:v>0.76403475841134771</c:v>
                </c:pt>
                <c:pt idx="27">
                  <c:v>0.47105902398293614</c:v>
                </c:pt>
                <c:pt idx="28">
                  <c:v>0.367655823596438</c:v>
                </c:pt>
                <c:pt idx="29">
                  <c:v>0.2872311121847172</c:v>
                </c:pt>
                <c:pt idx="30">
                  <c:v>0.28148648994102282</c:v>
                </c:pt>
                <c:pt idx="31">
                  <c:v>0.29297573442841152</c:v>
                </c:pt>
                <c:pt idx="32">
                  <c:v>0.361911201352743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J$2:$J$34</c:f>
              <c:numCache>
                <c:formatCode>General</c:formatCode>
                <c:ptCount val="33"/>
                <c:pt idx="0">
                  <c:v>0.2792550045526469</c:v>
                </c:pt>
                <c:pt idx="1">
                  <c:v>0.20812401282697271</c:v>
                </c:pt>
                <c:pt idx="2">
                  <c:v>0.1448964646263734</c:v>
                </c:pt>
                <c:pt idx="3">
                  <c:v>7.113099172567422E-2</c:v>
                </c:pt>
                <c:pt idx="4">
                  <c:v>5.795858585054936E-2</c:v>
                </c:pt>
                <c:pt idx="5">
                  <c:v>6.8496510550649245E-2</c:v>
                </c:pt>
                <c:pt idx="6">
                  <c:v>4.4786179975424507E-2</c:v>
                </c:pt>
                <c:pt idx="7">
                  <c:v>4.4786179975424507E-2</c:v>
                </c:pt>
                <c:pt idx="8">
                  <c:v>6.3227548200599309E-2</c:v>
                </c:pt>
                <c:pt idx="9">
                  <c:v>9.7475803475923925E-2</c:v>
                </c:pt>
                <c:pt idx="10">
                  <c:v>0.12118613405114867</c:v>
                </c:pt>
                <c:pt idx="11">
                  <c:v>0.16333783285154821</c:v>
                </c:pt>
                <c:pt idx="12">
                  <c:v>0.22129641870209754</c:v>
                </c:pt>
                <c:pt idx="13">
                  <c:v>0.32404118452807146</c:v>
                </c:pt>
                <c:pt idx="14">
                  <c:v>0.45839972445434496</c:v>
                </c:pt>
                <c:pt idx="15">
                  <c:v>0.64808236905614292</c:v>
                </c:pt>
                <c:pt idx="16">
                  <c:v>0.87464775010829032</c:v>
                </c:pt>
                <c:pt idx="17">
                  <c:v>1.4911163450641336</c:v>
                </c:pt>
                <c:pt idx="18">
                  <c:v>1.973226400093703</c:v>
                </c:pt>
                <c:pt idx="19">
                  <c:v>2.9453499536779173</c:v>
                </c:pt>
                <c:pt idx="20">
                  <c:v>5.1978313583242679</c:v>
                </c:pt>
                <c:pt idx="21">
                  <c:v>5.8643550956055854</c:v>
                </c:pt>
                <c:pt idx="22">
                  <c:v>6.9655682267660222</c:v>
                </c:pt>
                <c:pt idx="23">
                  <c:v>7.400257620645144</c:v>
                </c:pt>
                <c:pt idx="24">
                  <c:v>7.9192504121250629</c:v>
                </c:pt>
                <c:pt idx="25">
                  <c:v>7.4792920558958924</c:v>
                </c:pt>
                <c:pt idx="26">
                  <c:v>8.6042155176315553</c:v>
                </c:pt>
                <c:pt idx="27">
                  <c:v>5.6904793380539367</c:v>
                </c:pt>
                <c:pt idx="28">
                  <c:v>6.7548097327640244</c:v>
                </c:pt>
                <c:pt idx="29">
                  <c:v>4.0491975660133805</c:v>
                </c:pt>
                <c:pt idx="30">
                  <c:v>3.4696117075078865</c:v>
                </c:pt>
                <c:pt idx="31">
                  <c:v>3.7172529379602337</c:v>
                </c:pt>
                <c:pt idx="32">
                  <c:v>4.03075619778820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B$2:$B$34</c:f>
              <c:numCache>
                <c:formatCode>General</c:formatCode>
                <c:ptCount val="33"/>
                <c:pt idx="0">
                  <c:v>0.10111150756808399</c:v>
                </c:pt>
                <c:pt idx="1">
                  <c:v>2.2469223904018665E-2</c:v>
                </c:pt>
                <c:pt idx="2">
                  <c:v>4.4938447808037331E-2</c:v>
                </c:pt>
                <c:pt idx="3">
                  <c:v>5.6173059760046662E-2</c:v>
                </c:pt>
                <c:pt idx="4">
                  <c:v>4.4938447808037331E-2</c:v>
                </c:pt>
                <c:pt idx="5">
                  <c:v>0.10111150756808399</c:v>
                </c:pt>
                <c:pt idx="6">
                  <c:v>8.9876895616074662E-2</c:v>
                </c:pt>
                <c:pt idx="7">
                  <c:v>7.8642283664065324E-2</c:v>
                </c:pt>
                <c:pt idx="8">
                  <c:v>0.30333452270425199</c:v>
                </c:pt>
                <c:pt idx="9">
                  <c:v>0.41568064222434531</c:v>
                </c:pt>
                <c:pt idx="10">
                  <c:v>0.42691525417635462</c:v>
                </c:pt>
                <c:pt idx="11">
                  <c:v>0.71901516492859729</c:v>
                </c:pt>
                <c:pt idx="12">
                  <c:v>0.75271900078462528</c:v>
                </c:pt>
                <c:pt idx="13">
                  <c:v>0.62913826931252259</c:v>
                </c:pt>
                <c:pt idx="14">
                  <c:v>0.68531132907256931</c:v>
                </c:pt>
                <c:pt idx="15">
                  <c:v>0.86506512030471872</c:v>
                </c:pt>
                <c:pt idx="16">
                  <c:v>0.82012667249668136</c:v>
                </c:pt>
                <c:pt idx="17">
                  <c:v>1.0223496876328493</c:v>
                </c:pt>
                <c:pt idx="18">
                  <c:v>1.6739571808493905</c:v>
                </c:pt>
                <c:pt idx="19">
                  <c:v>2.9771721672824731</c:v>
                </c:pt>
                <c:pt idx="20">
                  <c:v>3.4377912573148559</c:v>
                </c:pt>
                <c:pt idx="21">
                  <c:v>4.38149866128364</c:v>
                </c:pt>
                <c:pt idx="22">
                  <c:v>4.2354487059075181</c:v>
                </c:pt>
                <c:pt idx="23">
                  <c:v>3.35914897365079</c:v>
                </c:pt>
                <c:pt idx="24">
                  <c:v>2.3480338979699504</c:v>
                </c:pt>
                <c:pt idx="25">
                  <c:v>1.17963425496098</c:v>
                </c:pt>
                <c:pt idx="26">
                  <c:v>1.078522747392896</c:v>
                </c:pt>
                <c:pt idx="27">
                  <c:v>0.71901516492859729</c:v>
                </c:pt>
                <c:pt idx="28">
                  <c:v>0.67407671712055994</c:v>
                </c:pt>
                <c:pt idx="29">
                  <c:v>0.67407671712055994</c:v>
                </c:pt>
                <c:pt idx="30">
                  <c:v>0.97741123982481204</c:v>
                </c:pt>
                <c:pt idx="31">
                  <c:v>1.2470419266730359</c:v>
                </c:pt>
                <c:pt idx="32">
                  <c:v>1.26951115057705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L$2:$L$34</c:f>
              <c:numCache>
                <c:formatCode>0.00000</c:formatCode>
                <c:ptCount val="33"/>
                <c:pt idx="0" formatCode="General">
                  <c:v>7.3288623608500969E-2</c:v>
                </c:pt>
                <c:pt idx="1">
                  <c:v>0.14657724721700194</c:v>
                </c:pt>
                <c:pt idx="2" formatCode="General">
                  <c:v>0.10993293541275144</c:v>
                </c:pt>
                <c:pt idx="3" formatCode="General">
                  <c:v>0.1282550913148767</c:v>
                </c:pt>
                <c:pt idx="4" formatCode="General">
                  <c:v>0.10993293541275144</c:v>
                </c:pt>
                <c:pt idx="5" formatCode="General">
                  <c:v>1.8322155902125242E-2</c:v>
                </c:pt>
                <c:pt idx="6" formatCode="General">
                  <c:v>5.496646770637572E-2</c:v>
                </c:pt>
                <c:pt idx="7" formatCode="General">
                  <c:v>5.496646770637572E-2</c:v>
                </c:pt>
                <c:pt idx="8" formatCode="General">
                  <c:v>1.8322155902125242E-2</c:v>
                </c:pt>
                <c:pt idx="9" formatCode="General">
                  <c:v>5.496646770637572E-2</c:v>
                </c:pt>
                <c:pt idx="10" formatCode="General">
                  <c:v>0.16489940311912718</c:v>
                </c:pt>
                <c:pt idx="11" formatCode="General">
                  <c:v>0.23818802672762815</c:v>
                </c:pt>
                <c:pt idx="12" formatCode="General">
                  <c:v>0.42140958574888054</c:v>
                </c:pt>
                <c:pt idx="13" formatCode="General">
                  <c:v>1.4657724721700194</c:v>
                </c:pt>
                <c:pt idx="14" formatCode="General">
                  <c:v>1.0810071982253893</c:v>
                </c:pt>
                <c:pt idx="15" formatCode="General">
                  <c:v>2.1803365523529039</c:v>
                </c:pt>
                <c:pt idx="16" formatCode="General">
                  <c:v>1.1542958218338903</c:v>
                </c:pt>
                <c:pt idx="17" formatCode="General">
                  <c:v>2.345235955472031</c:v>
                </c:pt>
                <c:pt idx="18" formatCode="General">
                  <c:v>4.1041629220760543</c:v>
                </c:pt>
                <c:pt idx="19" formatCode="General">
                  <c:v>6.0279892917992042</c:v>
                </c:pt>
                <c:pt idx="20" formatCode="General">
                  <c:v>5.8814120445822029</c:v>
                </c:pt>
                <c:pt idx="21" formatCode="General">
                  <c:v>7.7319497906968531</c:v>
                </c:pt>
                <c:pt idx="22" formatCode="General">
                  <c:v>10.242085149288009</c:v>
                </c:pt>
                <c:pt idx="23" formatCode="General">
                  <c:v>9.4359102895944993</c:v>
                </c:pt>
                <c:pt idx="24" formatCode="General">
                  <c:v>11.964367804087782</c:v>
                </c:pt>
                <c:pt idx="25" formatCode="General">
                  <c:v>6.9074527751012162</c:v>
                </c:pt>
                <c:pt idx="26" formatCode="General">
                  <c:v>5.4050359911269457</c:v>
                </c:pt>
                <c:pt idx="27" formatCode="General">
                  <c:v>4.5622168196291852</c:v>
                </c:pt>
                <c:pt idx="28" formatCode="General">
                  <c:v>6.6509425924714627</c:v>
                </c:pt>
                <c:pt idx="29" formatCode="General">
                  <c:v>5.9180563563864537</c:v>
                </c:pt>
                <c:pt idx="30" formatCode="General">
                  <c:v>2.8399341648294123</c:v>
                </c:pt>
                <c:pt idx="31" formatCode="General">
                  <c:v>2.6200682940039095</c:v>
                </c:pt>
                <c:pt idx="32" formatCode="General">
                  <c:v>2.41852457908053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34</c:f>
              <c:numCache>
                <c:formatCode>General</c:formatCode>
                <c:ptCount val="33"/>
                <c:pt idx="0">
                  <c:v>0.18169290206537081</c:v>
                </c:pt>
                <c:pt idx="1">
                  <c:v>0.18169290206537081</c:v>
                </c:pt>
                <c:pt idx="2">
                  <c:v>0.32324434902327603</c:v>
                </c:pt>
                <c:pt idx="3">
                  <c:v>0.73099702458858495</c:v>
                </c:pt>
                <c:pt idx="4">
                  <c:v>1.0838192879015724</c:v>
                </c:pt>
                <c:pt idx="5">
                  <c:v>1.3373442675276714</c:v>
                </c:pt>
                <c:pt idx="6">
                  <c:v>1.5739675818453636</c:v>
                </c:pt>
                <c:pt idx="7">
                  <c:v>1.4197398859061534</c:v>
                </c:pt>
                <c:pt idx="8">
                  <c:v>1.2401596920043334</c:v>
                </c:pt>
                <c:pt idx="9">
                  <c:v>1.0732557470838184</c:v>
                </c:pt>
                <c:pt idx="10">
                  <c:v>0.8345197246025754</c:v>
                </c:pt>
                <c:pt idx="11">
                  <c:v>0.70353181846242419</c:v>
                </c:pt>
                <c:pt idx="12">
                  <c:v>0.47958475312603693</c:v>
                </c:pt>
                <c:pt idx="13">
                  <c:v>0.36972392862139414</c:v>
                </c:pt>
                <c:pt idx="14">
                  <c:v>0.2894410184064628</c:v>
                </c:pt>
                <c:pt idx="15">
                  <c:v>0.24507414697189553</c:v>
                </c:pt>
                <c:pt idx="16">
                  <c:v>0.25352497962609882</c:v>
                </c:pt>
                <c:pt idx="17">
                  <c:v>0.21760894084573482</c:v>
                </c:pt>
                <c:pt idx="18">
                  <c:v>0.19436915104667576</c:v>
                </c:pt>
                <c:pt idx="19">
                  <c:v>0.31056810004197105</c:v>
                </c:pt>
                <c:pt idx="20">
                  <c:v>0.29789185106066612</c:v>
                </c:pt>
                <c:pt idx="21">
                  <c:v>0.32324434902327603</c:v>
                </c:pt>
                <c:pt idx="22">
                  <c:v>0.49648641843444352</c:v>
                </c:pt>
                <c:pt idx="23">
                  <c:v>0.58310745314002732</c:v>
                </c:pt>
                <c:pt idx="24">
                  <c:v>0.77747660418670306</c:v>
                </c:pt>
                <c:pt idx="25">
                  <c:v>0.88733742869134591</c:v>
                </c:pt>
                <c:pt idx="26">
                  <c:v>1.1535386572987496</c:v>
                </c:pt>
                <c:pt idx="27">
                  <c:v>1.4450923838687633</c:v>
                </c:pt>
                <c:pt idx="28">
                  <c:v>2.0429887941536462</c:v>
                </c:pt>
                <c:pt idx="29">
                  <c:v>2.2817248166348896</c:v>
                </c:pt>
                <c:pt idx="30">
                  <c:v>2.6641249942375884</c:v>
                </c:pt>
                <c:pt idx="31">
                  <c:v>2.2098927390741614</c:v>
                </c:pt>
                <c:pt idx="32">
                  <c:v>1.16832761444360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7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B9DB-4435-AD02-84089FF3FB66}"/>
              </c:ext>
            </c:extLst>
          </c:dPt>
          <c:cat>
            <c:strRef>
              <c:f>List1!$A$2:$A$34</c:f>
              <c:strCache>
                <c:ptCount val="33"/>
                <c:pt idx="0">
                  <c:v>26. týden</c:v>
                </c:pt>
                <c:pt idx="1">
                  <c:v>27. týden</c:v>
                </c:pt>
                <c:pt idx="2">
                  <c:v>28. týden</c:v>
                </c:pt>
                <c:pt idx="3">
                  <c:v>29. týden</c:v>
                </c:pt>
                <c:pt idx="4">
                  <c:v>30. týden</c:v>
                </c:pt>
                <c:pt idx="5">
                  <c:v>31. týden</c:v>
                </c:pt>
                <c:pt idx="6">
                  <c:v>32. týden</c:v>
                </c:pt>
                <c:pt idx="7">
                  <c:v>33. týden</c:v>
                </c:pt>
                <c:pt idx="8">
                  <c:v>34. týden</c:v>
                </c:pt>
                <c:pt idx="9">
                  <c:v>35. týden</c:v>
                </c:pt>
                <c:pt idx="10">
                  <c:v>36. týden</c:v>
                </c:pt>
                <c:pt idx="11">
                  <c:v>37. týden</c:v>
                </c:pt>
                <c:pt idx="12">
                  <c:v>38. týden</c:v>
                </c:pt>
                <c:pt idx="13">
                  <c:v>39. týden</c:v>
                </c:pt>
                <c:pt idx="14">
                  <c:v>40. týden</c:v>
                </c:pt>
                <c:pt idx="15">
                  <c:v>41. týden</c:v>
                </c:pt>
                <c:pt idx="16">
                  <c:v>42. týden</c:v>
                </c:pt>
                <c:pt idx="17">
                  <c:v>43. týden</c:v>
                </c:pt>
                <c:pt idx="18">
                  <c:v>44. týden</c:v>
                </c:pt>
                <c:pt idx="19">
                  <c:v>45. týden</c:v>
                </c:pt>
                <c:pt idx="20">
                  <c:v>46. týden</c:v>
                </c:pt>
                <c:pt idx="21">
                  <c:v>47. týden</c:v>
                </c:pt>
                <c:pt idx="22">
                  <c:v>48. týden</c:v>
                </c:pt>
                <c:pt idx="23">
                  <c:v>49. týden</c:v>
                </c:pt>
                <c:pt idx="24">
                  <c:v>50. týden</c:v>
                </c:pt>
                <c:pt idx="25">
                  <c:v>51. týden</c:v>
                </c:pt>
                <c:pt idx="26">
                  <c:v>52. týden 2021</c:v>
                </c:pt>
                <c:pt idx="27">
                  <c:v>1. týden 2022</c:v>
                </c:pt>
                <c:pt idx="28">
                  <c:v>2. týden</c:v>
                </c:pt>
                <c:pt idx="29">
                  <c:v>3. týden</c:v>
                </c:pt>
                <c:pt idx="30">
                  <c:v>4. týden</c:v>
                </c:pt>
                <c:pt idx="31">
                  <c:v>5. týden</c:v>
                </c:pt>
                <c:pt idx="32">
                  <c:v>6. týden</c:v>
                </c:pt>
              </c:strCache>
            </c:strRef>
          </c:cat>
          <c:val>
            <c:numRef>
              <c:f>List1!$H$2:$H$34</c:f>
              <c:numCache>
                <c:formatCode>General</c:formatCode>
                <c:ptCount val="33"/>
                <c:pt idx="0">
                  <c:v>0.24831081426067519</c:v>
                </c:pt>
                <c:pt idx="1">
                  <c:v>0.37760875304729896</c:v>
                </c:pt>
                <c:pt idx="2">
                  <c:v>0.52306893418225076</c:v>
                </c:pt>
                <c:pt idx="3">
                  <c:v>0.73464737946945324</c:v>
                </c:pt>
                <c:pt idx="4">
                  <c:v>0.893331213434855</c:v>
                </c:pt>
                <c:pt idx="5">
                  <c:v>0.89039262391697738</c:v>
                </c:pt>
                <c:pt idx="6">
                  <c:v>0.95063370903347244</c:v>
                </c:pt>
                <c:pt idx="7">
                  <c:v>1.0960938901684243</c:v>
                </c:pt>
                <c:pt idx="8">
                  <c:v>1.2180453551603534</c:v>
                </c:pt>
                <c:pt idx="9">
                  <c:v>1.335588935875466</c:v>
                </c:pt>
                <c:pt idx="10">
                  <c:v>1.5104350121891958</c:v>
                </c:pt>
                <c:pt idx="11">
                  <c:v>1.4487246323137617</c:v>
                </c:pt>
                <c:pt idx="12">
                  <c:v>1.3150188092503212</c:v>
                </c:pt>
                <c:pt idx="13">
                  <c:v>1.1710279228743086</c:v>
                </c:pt>
                <c:pt idx="14">
                  <c:v>1.148988501490225</c:v>
                </c:pt>
                <c:pt idx="15">
                  <c:v>1.337058230634405</c:v>
                </c:pt>
                <c:pt idx="16">
                  <c:v>1.4972113593587457</c:v>
                </c:pt>
                <c:pt idx="17">
                  <c:v>1.7322985207889707</c:v>
                </c:pt>
                <c:pt idx="18">
                  <c:v>1.6867503832618647</c:v>
                </c:pt>
                <c:pt idx="19">
                  <c:v>1.4766412327336012</c:v>
                </c:pt>
                <c:pt idx="20">
                  <c:v>1.3914221367151445</c:v>
                </c:pt>
                <c:pt idx="21">
                  <c:v>1.2797557350357875</c:v>
                </c:pt>
                <c:pt idx="22">
                  <c:v>1.2283304184729258</c:v>
                </c:pt>
                <c:pt idx="23">
                  <c:v>1.1960059337762698</c:v>
                </c:pt>
                <c:pt idx="24">
                  <c:v>1.1519270910081025</c:v>
                </c:pt>
                <c:pt idx="25">
                  <c:v>1.2062909970888422</c:v>
                </c:pt>
                <c:pt idx="27">
                  <c:v>2.3640952671327007</c:v>
                </c:pt>
                <c:pt idx="28">
                  <c:v>2.8166380528858839</c:v>
                </c:pt>
                <c:pt idx="29">
                  <c:v>2.7152567145190991</c:v>
                </c:pt>
                <c:pt idx="30">
                  <c:v>1.7837238373518325</c:v>
                </c:pt>
                <c:pt idx="31">
                  <c:v>2.1657404746759479</c:v>
                </c:pt>
                <c:pt idx="32">
                  <c:v>1.89098235475437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0479224"/>
        <c:axId val="400485496"/>
      </c:lineChart>
      <c:catAx>
        <c:axId val="400479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5496"/>
        <c:crosses val="autoZero"/>
        <c:auto val="1"/>
        <c:lblAlgn val="ctr"/>
        <c:lblOffset val="100"/>
        <c:tickLblSkip val="1"/>
        <c:noMultiLvlLbl val="1"/>
      </c:catAx>
      <c:valAx>
        <c:axId val="400485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79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8.02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20046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30486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2715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1979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716771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34540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66222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65820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189831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10022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02862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90032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341427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278952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80264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253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80297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80426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67087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47507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7963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49157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6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4350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4159AF-26F1-42E1-BF83-F89C20A19403}" type="datetimeFigureOut">
              <a:rPr lang="cs-CZ" smtClean="0"/>
              <a:t>18.02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37950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5" r:id="rId9"/>
    <p:sldLayoutId id="2147483666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27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chart" Target="../charts/chart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3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chart" Target="../charts/chart7.xml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10" Type="http://schemas.openxmlformats.org/officeDocument/2006/relationships/chart" Target="../charts/chart8.xml"/><Relationship Id="rId4" Type="http://schemas.openxmlformats.org/officeDocument/2006/relationships/tags" Target="../tags/tag49.xml"/><Relationship Id="rId9" Type="http://schemas.openxmlformats.org/officeDocument/2006/relationships/notesSlide" Target="../notesSlides/notesSlide1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10" Type="http://schemas.openxmlformats.org/officeDocument/2006/relationships/chart" Target="../charts/chart9.xml"/><Relationship Id="rId4" Type="http://schemas.openxmlformats.org/officeDocument/2006/relationships/tags" Target="../tags/tag56.xml"/><Relationship Id="rId9" Type="http://schemas.openxmlformats.org/officeDocument/2006/relationships/notesSlide" Target="../notesSlides/notesSlide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chart" Target="../charts/chart10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6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chart" Target="../charts/chart1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6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chart" Target="../charts/chart12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chart" Target="../charts/chart13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8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chart" Target="../charts/chart14.xml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chart" Target="../charts/char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12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17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800" dirty="0">
                <a:latin typeface="+mj-lt"/>
              </a:rPr>
              <a:t>Hodnocení pandemie COVID-19 </a:t>
            </a:r>
            <a:br>
              <a:rPr lang="cs-CZ" sz="4800" dirty="0">
                <a:latin typeface="+mj-lt"/>
              </a:rPr>
            </a:br>
            <a:r>
              <a:rPr lang="cs-CZ" sz="48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240535" y="3766261"/>
            <a:ext cx="9553575" cy="1964740"/>
          </a:xfrm>
        </p:spPr>
        <p:txBody>
          <a:bodyPr>
            <a:normAutofit/>
          </a:bodyPr>
          <a:lstStyle/>
          <a:p>
            <a:r>
              <a:rPr lang="cs-CZ" sz="4800" b="1" dirty="0"/>
              <a:t>Vybrané ukazatele šíření epidemie s časovými trendy </a:t>
            </a:r>
          </a:p>
        </p:txBody>
      </p:sp>
    </p:spTree>
    <p:extLst>
      <p:ext uri="{BB962C8B-B14F-4D97-AF65-F5344CB8AC3E}">
        <p14:creationId xmlns:p14="http://schemas.microsoft.com/office/powerpoint/2010/main" val="33381038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7.2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14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9714598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53272" y="1310313"/>
            <a:ext cx="3156144" cy="437082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31.1. 202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13.2. 2022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lvl="0"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Dánska, Portugalska a Malty nejsou dostupné údaje o počtu provedených testů za 6. týden roku 2022, a proto nebyly tyto země do analýzy zahrnuty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14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6207487" y="5904636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1ED9F66F-9613-4871-BB84-97F861A900D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4367264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7.2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7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8535739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472183"/>
            <a:ext cx="3156144" cy="4370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lvl="0" algn="ctr"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16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týdnu (31</a:t>
            </a:r>
            <a:r>
              <a:rPr lang="cs-CZ" sz="1600" dirty="0">
                <a:solidFill>
                  <a:srgbClr val="000000"/>
                </a:solidFill>
              </a:rPr>
              <a:t>.1.—6.2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) a </a:t>
            </a:r>
            <a:r>
              <a:rPr lang="cs-CZ" sz="1600" noProof="0" dirty="0">
                <a:solidFill>
                  <a:srgbClr val="000000"/>
                </a:solidFill>
                <a:latin typeface="Arial" panose="020B0604020202020204"/>
              </a:rPr>
              <a:t>6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 </a:t>
            </a:r>
            <a:r>
              <a:rPr lang="cs-CZ" sz="1600" dirty="0">
                <a:solidFill>
                  <a:srgbClr val="000000"/>
                </a:solidFill>
              </a:rPr>
              <a:t>týdnu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ku 2022 </a:t>
            </a:r>
          </a:p>
          <a:p>
            <a:pPr lvl="0" algn="ctr">
              <a:defRPr/>
            </a:pPr>
            <a:r>
              <a:rPr lang="cs-CZ" sz="1600" dirty="0">
                <a:solidFill>
                  <a:srgbClr val="000000"/>
                </a:solidFill>
              </a:rPr>
              <a:t>(7.2.—13.2.)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  <a:p>
            <a:pPr lvl="0" algn="ctr"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Dánska, Portugalska a Malty nejsou dostupné údaje o počtu provedených testů za 6. týden roku 2022, a proto nebyly tyto země do analýzy zahrnuty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7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5539320" y="5895862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1D1E692-519E-4DAB-B393-73DA8A84FB26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39569092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7.2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8230718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35443"/>
            <a:ext cx="44719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počtu provedených testů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daném týdnu 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89071" y="355827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CD61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1649" y="311406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8000" y="3745504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99663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0275" y="4018749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podílu potvrzených případů z počtu provedených testů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972734"/>
            <a:ext cx="3156144" cy="364066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vývoj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období od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4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13.2. 2022)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AC542E05-0690-4206-8063-94C7127469F5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17800771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Mortalita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Data o počtech úmrtí hlášená v reálném čase mají velmi omezenou hodnotu. Státy je budou muset doplnit, validovat, určit příčinu úmrtí …… </a:t>
            </a:r>
          </a:p>
        </p:txBody>
      </p:sp>
    </p:spTree>
    <p:extLst>
      <p:ext uri="{BB962C8B-B14F-4D97-AF65-F5344CB8AC3E}">
        <p14:creationId xmlns:p14="http://schemas.microsoft.com/office/powerpoint/2010/main" val="10455691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763288" y="6489579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17.2. 2022</a:t>
            </a:r>
          </a:p>
        </p:txBody>
      </p:sp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7246899"/>
              </p:ext>
            </p:extLst>
          </p:nvPr>
        </p:nvGraphicFramePr>
        <p:xfrm>
          <a:off x="584948" y="766578"/>
          <a:ext cx="5400000" cy="52886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b="1" dirty="0"/>
                        <a:t>Země</a:t>
                      </a:r>
                      <a:endParaRPr lang="cs-CZ" sz="12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7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14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4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4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6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4,6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2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1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5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4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8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3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1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6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14542447"/>
              </p:ext>
            </p:extLst>
          </p:nvPr>
        </p:nvGraphicFramePr>
        <p:xfrm>
          <a:off x="6250375" y="757705"/>
          <a:ext cx="5400000" cy="532906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2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14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848665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1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7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425165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9916256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kumulativního počtu na 100tis. 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500060" y="6083501"/>
            <a:ext cx="5460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9240302-8EF9-44FF-BE9E-83ECEB3AB4ED}"/>
              </a:ext>
            </a:extLst>
          </p:cNvPr>
          <p:cNvSpPr txBox="1"/>
          <p:nvPr/>
        </p:nvSpPr>
        <p:spPr>
          <a:xfrm>
            <a:off x="6192979" y="6044512"/>
            <a:ext cx="54740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tato země do analýzy zahrnut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6524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5200387"/>
              </p:ext>
            </p:extLst>
          </p:nvPr>
        </p:nvGraphicFramePr>
        <p:xfrm>
          <a:off x="584948" y="766578"/>
          <a:ext cx="5400000" cy="52886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4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6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4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1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0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3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4,6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2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5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1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6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155028"/>
              </p:ext>
            </p:extLst>
          </p:nvPr>
        </p:nvGraphicFramePr>
        <p:xfrm>
          <a:off x="6250375" y="757703"/>
          <a:ext cx="5400000" cy="532906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8">
                <a:tc>
                  <a:txBody>
                    <a:bodyPr/>
                    <a:lstStyle/>
                    <a:p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8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1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7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4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24309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633057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83131000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7denních počtů na 100tis.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2199946-02DE-42BF-806B-1FDEE8F5FB8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763288" y="6489579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17.2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97B1BD28-10EF-4703-B505-F31E255AC1EA}"/>
              </a:ext>
            </a:extLst>
          </p:cNvPr>
          <p:cNvSpPr txBox="1"/>
          <p:nvPr/>
        </p:nvSpPr>
        <p:spPr>
          <a:xfrm>
            <a:off x="500060" y="6083501"/>
            <a:ext cx="5460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ADB589D1-4971-40F7-BC58-E4364F4933B9}"/>
              </a:ext>
            </a:extLst>
          </p:cNvPr>
          <p:cNvSpPr txBox="1"/>
          <p:nvPr/>
        </p:nvSpPr>
        <p:spPr>
          <a:xfrm>
            <a:off x="6192979" y="6044512"/>
            <a:ext cx="54740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tato země do analýzy zahrnut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332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757021"/>
              </p:ext>
            </p:extLst>
          </p:nvPr>
        </p:nvGraphicFramePr>
        <p:xfrm>
          <a:off x="584948" y="766578"/>
          <a:ext cx="5400000" cy="52886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4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6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1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4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0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3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2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4,6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5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6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1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449854"/>
              </p:ext>
            </p:extLst>
          </p:nvPr>
        </p:nvGraphicFramePr>
        <p:xfrm>
          <a:off x="6250375" y="757703"/>
          <a:ext cx="5400000" cy="532906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3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4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8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1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7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79691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68979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6322813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14denních počtů na 100tis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805B2A00-318E-49DC-8B3F-6321E7CB57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763288" y="6489579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17.2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FABB83D-5FFB-44C0-BA3C-FCF7D4C844B1}"/>
              </a:ext>
            </a:extLst>
          </p:cNvPr>
          <p:cNvSpPr txBox="1"/>
          <p:nvPr/>
        </p:nvSpPr>
        <p:spPr>
          <a:xfrm>
            <a:off x="500060" y="6083501"/>
            <a:ext cx="5460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3F6892A-7689-4C32-BFEC-21E96E9890B3}"/>
              </a:ext>
            </a:extLst>
          </p:cNvPr>
          <p:cNvSpPr txBox="1"/>
          <p:nvPr/>
        </p:nvSpPr>
        <p:spPr>
          <a:xfrm>
            <a:off x="6192979" y="6044512"/>
            <a:ext cx="54740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tato země do analýzy zahrnut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4589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7.2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5713804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270692" y="486266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8881" y="3970129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2692" y="449365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52256" y="4683763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14denního</a:t>
            </a:r>
            <a:r>
              <a:rPr lang="cs-CZ" sz="2000" dirty="0">
                <a:latin typeface="+mj-lt"/>
              </a:rPr>
              <a:t> kumulativního počtu úmrtí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70847" y="2094808"/>
            <a:ext cx="2904485" cy="356439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</a:t>
            </a:r>
            <a:r>
              <a:rPr lang="cs-CZ" sz="1600" dirty="0">
                <a:solidFill>
                  <a:schemeClr val="tx1"/>
                </a:solidFill>
              </a:rPr>
              <a:t> počtu úmrt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6. týdne roku 2022 (7.2.—13.2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u této země pro 52. a 1. týden analýza proveden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2050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7.2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0791157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264956" y="4900797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4957" y="4025616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6920" y="4487636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43282" y="4668443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7denního</a:t>
            </a:r>
            <a:r>
              <a:rPr lang="cs-CZ" sz="2000" dirty="0">
                <a:latin typeface="+mj-lt"/>
              </a:rPr>
              <a:t> kumulativního počtu úmrt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59226529-17EF-4D97-A0A2-10EBEC6C052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70847" y="2094808"/>
            <a:ext cx="2904485" cy="356439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úmrt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6. týdne roku 2022 (7.2.—13.2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2. týden roku 2021, a proto nebyla u této země pro tento týden analýza proveden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4058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7.2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měr kumulativního počtu úmrtí ke kumulativnímu počtu potvrzených případů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2084330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919773" y="2244436"/>
            <a:ext cx="3156144" cy="356315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měr kumulativního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úmrtí ke </a:t>
            </a:r>
            <a:r>
              <a:rPr lang="cs-CZ" sz="1600" b="1" u="sng" dirty="0">
                <a:solidFill>
                  <a:schemeClr val="tx1"/>
                </a:solidFill>
              </a:rPr>
              <a:t>kumulativnímu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od začátku epidemie do 13.2. 2022</a:t>
            </a:r>
            <a:br>
              <a:rPr lang="cs-CZ" sz="1600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(„naivní“ case fatality </a:t>
            </a:r>
            <a:r>
              <a:rPr lang="cs-CZ" sz="1600" b="1" dirty="0" err="1">
                <a:solidFill>
                  <a:schemeClr val="tx1"/>
                </a:solidFill>
              </a:rPr>
              <a:t>rate</a:t>
            </a:r>
            <a:r>
              <a:rPr lang="cs-CZ" sz="1600" b="1" dirty="0">
                <a:solidFill>
                  <a:schemeClr val="tx1"/>
                </a:solidFill>
              </a:rPr>
              <a:t>, </a:t>
            </a:r>
            <a:br>
              <a:rPr lang="cs-CZ" sz="1600" b="1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v případě rychlého růstu počtu případů je nezbytná opatrná interpretace).</a:t>
            </a:r>
          </a:p>
          <a:p>
            <a:pPr algn="ctr"/>
            <a:endParaRPr lang="cs-CZ" sz="1600" b="1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a počtu úmrtí za 52. týden roku 2021, a proto nebyla tato země do analýzy zahrnuta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měr úmrtí a potvrzených případů onemocnění v zemích EU, EHP a Velké Británii </a:t>
            </a:r>
            <a:r>
              <a:rPr lang="cs-CZ" sz="2000" u="sng" dirty="0">
                <a:latin typeface="+mj-lt"/>
              </a:rPr>
              <a:t>od začátku epidemie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2691510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5321102" y="1050408"/>
            <a:ext cx="65163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rozdílné testovací strategie. Státy také rozdílně v čase aktualizují publikovaná data. Vedle možných rozdílů </a:t>
            </a:r>
            <a:br>
              <a:rPr lang="cs-CZ" sz="1400" i="1" dirty="0"/>
            </a:br>
            <a:r>
              <a:rPr lang="cs-CZ" sz="1400" i="1" dirty="0"/>
              <a:t>v dostupnosti a úspěšnosti léčebné péče může ukazatel svědčit zejména </a:t>
            </a:r>
          </a:p>
          <a:p>
            <a:pPr algn="r"/>
            <a:r>
              <a:rPr lang="cs-CZ" sz="1400" i="1" dirty="0"/>
              <a:t>o relativním „</a:t>
            </a:r>
            <a:r>
              <a:rPr lang="cs-CZ" sz="1400" i="1" dirty="0" err="1"/>
              <a:t>podhlášení</a:t>
            </a:r>
            <a:r>
              <a:rPr lang="cs-CZ" sz="1400" i="1" dirty="0"/>
              <a:t>“ počtu případů nebo naopak zemřelých.</a:t>
            </a:r>
          </a:p>
        </p:txBody>
      </p:sp>
    </p:spTree>
    <p:extLst>
      <p:ext uri="{BB962C8B-B14F-4D97-AF65-F5344CB8AC3E}">
        <p14:creationId xmlns:p14="http://schemas.microsoft.com/office/powerpoint/2010/main" val="252379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8129973"/>
              </p:ext>
            </p:extLst>
          </p:nvPr>
        </p:nvGraphicFramePr>
        <p:xfrm>
          <a:off x="2570678" y="1043782"/>
          <a:ext cx="6684884" cy="553391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6712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kratka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/>
                        <a:t>Země</a:t>
                      </a:r>
                      <a:endParaRPr lang="cs-CZ" sz="14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dirty="0"/>
                        <a:t>Zkratka</a:t>
                      </a:r>
                      <a:endParaRPr lang="cs-CZ" sz="1400" u="none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elg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ď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ulh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G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lt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M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Česká republik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Z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ěmec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Dá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izozem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Esto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o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ranc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rtuga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Chorvat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akou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A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umu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R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land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Řecko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EL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tál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e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Kyp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Y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chtenštej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paně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S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tv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véd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otyš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V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Velká Britán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U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ucembu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Seznam zkratek zemí EU, EHP a Velké Británie</a:t>
            </a:r>
          </a:p>
        </p:txBody>
      </p:sp>
    </p:spTree>
    <p:extLst>
      <p:ext uri="{BB962C8B-B14F-4D97-AF65-F5344CB8AC3E}">
        <p14:creationId xmlns:p14="http://schemas.microsoft.com/office/powerpoint/2010/main" val="15136243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4196029"/>
            <a:ext cx="9553575" cy="1564691"/>
          </a:xfrm>
        </p:spPr>
        <p:txBody>
          <a:bodyPr>
            <a:normAutofit/>
          </a:bodyPr>
          <a:lstStyle/>
          <a:p>
            <a:r>
              <a:rPr lang="cs-CZ" sz="4800" b="1" dirty="0"/>
              <a:t>Očkování v mezinárodním srovnání</a:t>
            </a:r>
          </a:p>
        </p:txBody>
      </p:sp>
    </p:spTree>
    <p:extLst>
      <p:ext uri="{BB962C8B-B14F-4D97-AF65-F5344CB8AC3E}">
        <p14:creationId xmlns:p14="http://schemas.microsoft.com/office/powerpoint/2010/main" val="12911364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1289628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očkováním 1.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6.2. 2022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očkováním </a:t>
            </a:r>
            <a:r>
              <a:rPr lang="cs-CZ" sz="2000" u="sng" dirty="0">
                <a:latin typeface="+mj-lt"/>
              </a:rPr>
              <a:t>1. dávkou</a:t>
            </a:r>
            <a:r>
              <a:rPr lang="cs-CZ" sz="2000" dirty="0">
                <a:latin typeface="+mj-lt"/>
              </a:rPr>
              <a:t> v 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959783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7.2. 2022</a:t>
            </a:r>
          </a:p>
        </p:txBody>
      </p:sp>
      <p:sp>
        <p:nvSpPr>
          <p:cNvPr id="2" name="Obdélník 1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22856767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400838"/>
              </p:ext>
            </p:extLst>
          </p:nvPr>
        </p:nvGraphicFramePr>
        <p:xfrm>
          <a:off x="775744" y="840581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1. dávkou z počtu obyvatel ve věku 18 a více let</a:t>
                      </a:r>
                      <a:r>
                        <a:rPr lang="cs-CZ" sz="1300" b="1" baseline="0" dirty="0"/>
                        <a:t> do 16.2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5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4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3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3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3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3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0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9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9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6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</a:t>
            </a:r>
            <a:r>
              <a:rPr lang="cs-CZ" sz="2000" dirty="0"/>
              <a:t>vykázaným </a:t>
            </a:r>
            <a:r>
              <a:rPr lang="cs-CZ" sz="2000" dirty="0">
                <a:latin typeface="+mj-lt"/>
              </a:rPr>
              <a:t>očkováním </a:t>
            </a:r>
            <a:r>
              <a:rPr lang="cs-CZ" sz="2000" u="sng" dirty="0">
                <a:latin typeface="+mj-lt"/>
              </a:rPr>
              <a:t>1. dávkou</a:t>
            </a:r>
            <a:r>
              <a:rPr lang="cs-CZ" sz="2000" dirty="0">
                <a:latin typeface="+mj-lt"/>
              </a:rPr>
              <a:t>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8264034"/>
              </p:ext>
            </p:extLst>
          </p:nvPr>
        </p:nvGraphicFramePr>
        <p:xfrm>
          <a:off x="6058960" y="857516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1. dávkou z počtu obyvatel ve věku 18 a více let</a:t>
                      </a:r>
                      <a:r>
                        <a:rPr lang="cs-CZ" sz="1300" b="1" baseline="0" dirty="0"/>
                        <a:t> do 16.2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5,4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3,0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2,6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,8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9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8,5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,1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3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3,1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0,2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,4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0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405521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7.2. 2022</a:t>
            </a:r>
          </a:p>
        </p:txBody>
      </p:sp>
    </p:spTree>
    <p:extLst>
      <p:ext uri="{BB962C8B-B14F-4D97-AF65-F5344CB8AC3E}">
        <p14:creationId xmlns:p14="http://schemas.microsoft.com/office/powerpoint/2010/main" val="22290917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4017360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16.2. 2022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961474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7.2. 2022</a:t>
            </a:r>
          </a:p>
        </p:txBody>
      </p:sp>
      <p:sp>
        <p:nvSpPr>
          <p:cNvPr id="15" name="Obdélník 14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15333923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002713"/>
              </p:ext>
            </p:extLst>
          </p:nvPr>
        </p:nvGraphicFramePr>
        <p:xfrm>
          <a:off x="775744" y="840581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16.2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4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4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3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5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9,6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7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6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6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5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83369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5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2,6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862611"/>
              </p:ext>
            </p:extLst>
          </p:nvPr>
        </p:nvGraphicFramePr>
        <p:xfrm>
          <a:off x="6058960" y="857516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>
                          <a:latin typeface="+mj-lt"/>
                        </a:rPr>
                        <a:t>Pořad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16.2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2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9,6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8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6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4,1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2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0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8,3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5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5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9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9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4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56862735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7.2. 2022</a:t>
            </a:r>
          </a:p>
        </p:txBody>
      </p:sp>
    </p:spTree>
    <p:extLst>
      <p:ext uri="{BB962C8B-B14F-4D97-AF65-F5344CB8AC3E}">
        <p14:creationId xmlns:p14="http://schemas.microsoft.com/office/powerpoint/2010/main" val="34344621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6048340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 vykázaným očkováním posilující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dirty="0">
                <a:solidFill>
                  <a:schemeClr val="tx1"/>
                </a:solidFill>
              </a:rPr>
              <a:t> do 16.2. 2022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očkováním </a:t>
            </a:r>
            <a:r>
              <a:rPr lang="cs-CZ" sz="2000" u="sng" dirty="0">
                <a:latin typeface="+mj-lt"/>
              </a:rPr>
              <a:t>posilující dávkou</a:t>
            </a:r>
            <a:r>
              <a:rPr lang="cs-CZ" sz="2000" dirty="0">
                <a:latin typeface="+mj-lt"/>
              </a:rPr>
              <a:t> v 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496251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7.2. 2022</a:t>
            </a:r>
          </a:p>
        </p:txBody>
      </p:sp>
      <p:sp>
        <p:nvSpPr>
          <p:cNvPr id="2" name="Obdélník 1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33042258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3081442"/>
              </p:ext>
            </p:extLst>
          </p:nvPr>
        </p:nvGraphicFramePr>
        <p:xfrm>
          <a:off x="775744" y="840581"/>
          <a:ext cx="5013663" cy="54254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posilující dávkou z počtu obyvatel ve věku 18 a více let</a:t>
                      </a:r>
                      <a:r>
                        <a:rPr lang="cs-CZ" sz="1300" b="1" baseline="0" dirty="0"/>
                        <a:t> do 16.2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4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7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6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3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2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,6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5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3,0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0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9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8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</a:t>
            </a:r>
            <a:r>
              <a:rPr lang="cs-CZ" sz="2000" dirty="0"/>
              <a:t>vykázaným </a:t>
            </a:r>
            <a:r>
              <a:rPr lang="cs-CZ" sz="2000" dirty="0">
                <a:latin typeface="+mj-lt"/>
              </a:rPr>
              <a:t>očkováním </a:t>
            </a:r>
            <a:r>
              <a:rPr lang="cs-CZ" sz="2000" u="sng" dirty="0">
                <a:latin typeface="+mj-lt"/>
              </a:rPr>
              <a:t>posilující dávkou</a:t>
            </a:r>
            <a:r>
              <a:rPr lang="cs-CZ" sz="2000" dirty="0">
                <a:latin typeface="+mj-lt"/>
              </a:rPr>
              <a:t> v 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462572"/>
              </p:ext>
            </p:extLst>
          </p:nvPr>
        </p:nvGraphicFramePr>
        <p:xfrm>
          <a:off x="6058960" y="857516"/>
          <a:ext cx="5013663" cy="54254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posilující dávkou z počtu obyvatel ve věku 18 a více let</a:t>
                      </a:r>
                      <a:r>
                        <a:rPr lang="cs-CZ" sz="1300" b="1" baseline="0" dirty="0"/>
                        <a:t> do 16.2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7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7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5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5,8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4,7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,0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7,6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,1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4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405521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17.2. 2022</a:t>
            </a:r>
          </a:p>
        </p:txBody>
      </p:sp>
    </p:spTree>
    <p:extLst>
      <p:ext uri="{BB962C8B-B14F-4D97-AF65-F5344CB8AC3E}">
        <p14:creationId xmlns:p14="http://schemas.microsoft.com/office/powerpoint/2010/main" val="12319774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7.2. 2022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828333" y="2709333"/>
            <a:ext cx="3156144" cy="306883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</a:t>
            </a:r>
            <a:r>
              <a:rPr lang="cs-CZ" sz="1600" b="1" u="sng" dirty="0">
                <a:solidFill>
                  <a:schemeClr val="tx1"/>
                </a:solidFill>
              </a:rPr>
              <a:t> podíl</a:t>
            </a:r>
            <a:r>
              <a:rPr lang="cs-CZ" sz="1600" dirty="0">
                <a:solidFill>
                  <a:schemeClr val="tx1"/>
                </a:solidFill>
              </a:rPr>
              <a:t> osob s 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u="sng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a </a:t>
            </a:r>
            <a:r>
              <a:rPr lang="cs-CZ" sz="1600" b="1" u="sng" dirty="0">
                <a:solidFill>
                  <a:schemeClr val="tx1"/>
                </a:solidFill>
              </a:rPr>
              <a:t>podíl </a:t>
            </a:r>
            <a:r>
              <a:rPr lang="cs-CZ" sz="1600" dirty="0">
                <a:solidFill>
                  <a:schemeClr val="tx1"/>
                </a:solidFill>
              </a:rPr>
              <a:t>osob s vykázaným očkováním posilující 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dirty="0">
                <a:solidFill>
                  <a:schemeClr val="tx1"/>
                </a:solidFill>
              </a:rPr>
              <a:t> do 16.2. 2022.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2042482" y="3387735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úplným očkováním z počtu obyvatel</a:t>
            </a:r>
          </a:p>
        </p:txBody>
      </p:sp>
      <p:graphicFrame>
        <p:nvGraphicFramePr>
          <p:cNvPr id="17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01773327"/>
              </p:ext>
            </p:extLst>
          </p:nvPr>
        </p:nvGraphicFramePr>
        <p:xfrm>
          <a:off x="532014" y="1233288"/>
          <a:ext cx="7601681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>
            <a:off x="700106" y="6193805"/>
            <a:ext cx="73900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posilující dávkou z počtu obyvatel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 fontScale="90000"/>
          </a:bodyPr>
          <a:lstStyle/>
          <a:p>
            <a:r>
              <a:rPr lang="cs-CZ" sz="2000" dirty="0">
                <a:latin typeface="+mj-lt"/>
              </a:rPr>
              <a:t>Srovnání podílů osob s vykázaným úplným očkováním a osob s vykázaným očkováním posilující dávkou v zemích EU a EHP</a:t>
            </a:r>
            <a:endParaRPr lang="cs-CZ" sz="2000" u="sng" dirty="0">
              <a:latin typeface="+mj-lt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5104019" y="690389"/>
            <a:ext cx="707577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reportova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263851462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4196029"/>
            <a:ext cx="9553575" cy="1564691"/>
          </a:xfrm>
        </p:spPr>
        <p:txBody>
          <a:bodyPr>
            <a:normAutofit/>
          </a:bodyPr>
          <a:lstStyle/>
          <a:p>
            <a:r>
              <a:rPr lang="cs-CZ" sz="4800" b="1" dirty="0"/>
              <a:t>Šíření varianty omikron v mezinárodním srovnání</a:t>
            </a:r>
          </a:p>
        </p:txBody>
      </p:sp>
    </p:spTree>
    <p:extLst>
      <p:ext uri="{BB962C8B-B14F-4D97-AF65-F5344CB8AC3E}">
        <p14:creationId xmlns:p14="http://schemas.microsoft.com/office/powerpoint/2010/main" val="428993428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>
            <a:extLst>
              <a:ext uri="{FF2B5EF4-FFF2-40B4-BE49-F238E27FC236}">
                <a16:creationId xmlns:a16="http://schemas.microsoft.com/office/drawing/2014/main" id="{19C35C04-DBB7-44FD-BC2D-7D20F692FCC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8437419" y="6209208"/>
            <a:ext cx="36243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</a:t>
            </a:r>
            <a:r>
              <a:rPr lang="cs-CZ" sz="1600" dirty="0" err="1"/>
              <a:t>Our</a:t>
            </a:r>
            <a:r>
              <a:rPr lang="cs-CZ" sz="1600" dirty="0"/>
              <a:t> </a:t>
            </a:r>
            <a:r>
              <a:rPr lang="cs-CZ" sz="1600" dirty="0" err="1"/>
              <a:t>World</a:t>
            </a:r>
            <a:r>
              <a:rPr lang="cs-CZ" sz="1600" dirty="0"/>
              <a:t> in Data, 17.2. 2022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41F8CE96-D020-471F-8379-C7C9D7B219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týdenního</a:t>
            </a:r>
            <a:r>
              <a:rPr lang="cs-CZ" sz="2000" dirty="0">
                <a:latin typeface="+mj-lt"/>
              </a:rPr>
              <a:t> počtu nových hospitalizací ve vybraných evropských zemích a v JAR</a:t>
            </a:r>
          </a:p>
        </p:txBody>
      </p:sp>
      <p:sp>
        <p:nvSpPr>
          <p:cNvPr id="8" name="Zaoblený obdélník 5">
            <a:extLst>
              <a:ext uri="{FF2B5EF4-FFF2-40B4-BE49-F238E27FC236}">
                <a16:creationId xmlns:a16="http://schemas.microsoft.com/office/drawing/2014/main" id="{19380C45-910B-4530-BC2F-A6753D79409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828333" y="2709333"/>
            <a:ext cx="3156144" cy="306883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týdenního</a:t>
            </a:r>
            <a:r>
              <a:rPr lang="cs-CZ" sz="1600" dirty="0">
                <a:solidFill>
                  <a:schemeClr val="tx1"/>
                </a:solidFill>
              </a:rPr>
              <a:t> počtu nových hospitalizací od 1.11. 2021 do 17.2. 2022 </a:t>
            </a:r>
            <a:r>
              <a:rPr lang="cs-CZ" sz="1600" b="1" u="sng" dirty="0">
                <a:solidFill>
                  <a:schemeClr val="tx1"/>
                </a:solidFill>
              </a:rPr>
              <a:t>přepočítaný na 1 milion osob</a:t>
            </a:r>
            <a:r>
              <a:rPr lang="cs-CZ" sz="16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917E9A3-4D4E-4D30-BEE3-6BED501B5F19}"/>
              </a:ext>
            </a:extLst>
          </p:cNvPr>
          <p:cNvSpPr txBox="1"/>
          <p:nvPr/>
        </p:nvSpPr>
        <p:spPr>
          <a:xfrm rot="16200000">
            <a:off x="-2007669" y="3351639"/>
            <a:ext cx="458657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Týdenní počet nových hospitalizací </a:t>
            </a:r>
          </a:p>
          <a:p>
            <a:pPr algn="ctr"/>
            <a:r>
              <a:rPr lang="cs-CZ" sz="1600" b="1" dirty="0"/>
              <a:t>na 1 milion osob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46E3ECDA-B2FC-4B8F-BD7C-375876CEE5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9181" y="1368320"/>
            <a:ext cx="8221604" cy="4624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6362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nově diagnostikovaných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téměř nesrovnatelná </a:t>
            </a:r>
          </a:p>
        </p:txBody>
      </p:sp>
    </p:spTree>
    <p:extLst>
      <p:ext uri="{BB962C8B-B14F-4D97-AF65-F5344CB8AC3E}">
        <p14:creationId xmlns:p14="http://schemas.microsoft.com/office/powerpoint/2010/main" val="26264018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737201" y="2313138"/>
            <a:ext cx="3200092" cy="358813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14denní kumulativní počet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</a:t>
            </a:r>
            <a:r>
              <a:rPr lang="cs-CZ" sz="1600" b="1" u="sng" dirty="0">
                <a:solidFill>
                  <a:schemeClr val="tx1"/>
                </a:solidFill>
              </a:rPr>
              <a:t>přepočítaný na 100 tisíc osob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k 30.1. 2022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a 13.2. 2022.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denní kumulativní počet případů onemocnění na 100 tisíc osob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383532" y="5986979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7.2. 2022</a:t>
            </a:r>
          </a:p>
        </p:txBody>
      </p:sp>
      <p:graphicFrame>
        <p:nvGraphicFramePr>
          <p:cNvPr id="9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66703191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2665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otvrzených případů onemocnění v zemích EU, EHP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a Velké Británii (14denní kumulativní počet)</a:t>
            </a:r>
          </a:p>
        </p:txBody>
      </p:sp>
      <p:sp>
        <p:nvSpPr>
          <p:cNvPr id="12" name="Obdélník 11"/>
          <p:cNvSpPr/>
          <p:nvPr>
            <p:custDataLst>
              <p:tags r:id="rId4"/>
            </p:custDataLst>
          </p:nvPr>
        </p:nvSpPr>
        <p:spPr>
          <a:xfrm rot="16200000">
            <a:off x="4244242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7534656" y="1574473"/>
            <a:ext cx="42830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6203659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7.2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3804348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případů onemocnění 100 tisíc osob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69533"/>
            <a:ext cx="2904485" cy="43814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</a:t>
            </a:r>
            <a:r>
              <a:rPr lang="cs-CZ" sz="1600" dirty="0">
                <a:solidFill>
                  <a:schemeClr val="tx1"/>
                </a:solidFill>
              </a:rPr>
              <a:t> počtu potvrzených případů onemocněn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6. týdne roku 2022 (7.2.—13.2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za 52. týden roku 2021, a proto nebyla u této země pro 52. a 1. týden analýza provedena.</a:t>
            </a:r>
            <a:endParaRPr lang="cs-CZ" sz="1100" b="1" u="sng" dirty="0">
              <a:solidFill>
                <a:schemeClr val="tx1"/>
              </a:solidFill>
            </a:endParaRP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295785" y="359281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293669" y="467590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93822" y="4851463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285509" y="3946351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14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45072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8646037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7.2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8271892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případů onemocnění 100 tisíc osob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7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41514"/>
            <a:ext cx="2904485" cy="43812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potvrzených případů onemocnění od 26. týdne roku 2021 (28.6.—4.7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6. týdne roku 2022 (7.2.—13.2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za 52. týden roku 2021, a proto nebyla u této země pro tento týden analýza provedena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36609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819BC0D0-959D-4E8E-A71C-05A83CEEEA6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8577" y="3866986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89EBFAB1-1614-4ECE-A214-7AF399DB0350}"/>
              </a:ext>
            </a:extLst>
          </p:cNvPr>
          <p:cNvSpPr txBox="1"/>
          <p:nvPr/>
        </p:nvSpPr>
        <p:spPr>
          <a:xfrm>
            <a:off x="8268730" y="4858788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B1AA9DE3-6FB8-4639-B002-0E7FCE4D52A6}"/>
              </a:ext>
            </a:extLst>
          </p:cNvPr>
          <p:cNvSpPr txBox="1"/>
          <p:nvPr/>
        </p:nvSpPr>
        <p:spPr>
          <a:xfrm>
            <a:off x="8277196" y="5042649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B9D7D5B-AF10-44B6-8594-DAA0A2D6545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8772" y="4430481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</p:spTree>
    <p:extLst>
      <p:ext uri="{BB962C8B-B14F-4D97-AF65-F5344CB8AC3E}">
        <p14:creationId xmlns:p14="http://schemas.microsoft.com/office/powerpoint/2010/main" val="19710835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% změna týdenního kumulativního počtu potvrzených případů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7.2. 2022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rocentuální změna týdenního kumulativního počtu potvrzených případů</a:t>
            </a: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88551" y="2485506"/>
            <a:ext cx="2986781" cy="35004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% změnu týdenního kumulativního</a:t>
            </a:r>
            <a:r>
              <a:rPr lang="cs-CZ" sz="1600" dirty="0">
                <a:solidFill>
                  <a:schemeClr val="tx1"/>
                </a:solidFill>
              </a:rPr>
              <a:t> </a:t>
            </a:r>
            <a:r>
              <a:rPr lang="cs-CZ" sz="1600" b="1" u="sng" dirty="0">
                <a:solidFill>
                  <a:schemeClr val="tx1"/>
                </a:solidFill>
              </a:rPr>
              <a:t>počtu</a:t>
            </a:r>
            <a:r>
              <a:rPr lang="cs-CZ" sz="1600" dirty="0">
                <a:solidFill>
                  <a:schemeClr val="tx1"/>
                </a:solidFill>
              </a:rPr>
              <a:t> potvrzených případů onemocnění v 4. týdnu vs. 3. týdnu a 6. týdnu vs. 5. týdnu roku 2022.</a:t>
            </a:r>
          </a:p>
        </p:txBody>
      </p:sp>
      <p:graphicFrame>
        <p:nvGraphicFramePr>
          <p:cNvPr id="12" name="Zástupný symbol pro obsah 6">
            <a:extLst>
              <a:ext uri="{FF2B5EF4-FFF2-40B4-BE49-F238E27FC236}">
                <a16:creationId xmlns:a16="http://schemas.microsoft.com/office/drawing/2014/main" id="{F13BB43F-25A2-477B-B389-4C1E0C908283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93728827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Obdélník 9"/>
          <p:cNvSpPr/>
          <p:nvPr>
            <p:custDataLst>
              <p:tags r:id="rId4"/>
            </p:custDataLst>
          </p:nvPr>
        </p:nvSpPr>
        <p:spPr>
          <a:xfrm rot="16200000">
            <a:off x="5131888" y="588260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9" name="TextovéPole 8"/>
          <p:cNvSpPr txBox="1"/>
          <p:nvPr>
            <p:custDataLst>
              <p:tags r:id="rId5"/>
            </p:custDataLst>
          </p:nvPr>
        </p:nvSpPr>
        <p:spPr>
          <a:xfrm>
            <a:off x="8660504" y="964406"/>
            <a:ext cx="335369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>
                <a:solidFill>
                  <a:srgbClr val="C00000"/>
                </a:solidFill>
              </a:rPr>
              <a:t>Relativní změna v kumulativním počtu nově diagnostikovaných případů ukazuje na dynamiku šíření nákazy v čase. </a:t>
            </a:r>
          </a:p>
        </p:txBody>
      </p:sp>
    </p:spTree>
    <p:extLst>
      <p:ext uri="{BB962C8B-B14F-4D97-AF65-F5344CB8AC3E}">
        <p14:creationId xmlns:p14="http://schemas.microsoft.com/office/powerpoint/2010/main" val="20371787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testů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téměř nesrovnatelná </a:t>
            </a:r>
          </a:p>
        </p:txBody>
      </p:sp>
    </p:spTree>
    <p:extLst>
      <p:ext uri="{BB962C8B-B14F-4D97-AF65-F5344CB8AC3E}">
        <p14:creationId xmlns:p14="http://schemas.microsoft.com/office/powerpoint/2010/main" val="35551120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0588137"/>
              </p:ext>
            </p:extLst>
          </p:nvPr>
        </p:nvGraphicFramePr>
        <p:xfrm>
          <a:off x="775744" y="840581"/>
          <a:ext cx="5013663" cy="52882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10.1. 2022—13.2. 202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23 8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22 8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18 7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ánsko*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85 19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71 58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3 96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ortugalsko*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6 98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4 55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8 38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0 21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9 172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8 30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6 78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1 7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9 77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 </a:t>
            </a:r>
            <a:br>
              <a:rPr lang="cs-CZ" sz="2000" dirty="0">
                <a:latin typeface="+mj-lt"/>
              </a:rPr>
            </a:br>
            <a:r>
              <a:rPr lang="cs-CZ" sz="2000" u="sng" dirty="0">
                <a:latin typeface="+mj-lt"/>
              </a:rPr>
              <a:t>od 10.1. 2022 do 13.2. 2022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62828411"/>
              </p:ext>
            </p:extLst>
          </p:nvPr>
        </p:nvGraphicFramePr>
        <p:xfrm>
          <a:off x="6058960" y="857516"/>
          <a:ext cx="5013663" cy="531807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10.1. 2022—13.2. 202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 6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 0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 0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 70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 07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*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1 76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 29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 4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 66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 79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 69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 7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19351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 35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 75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 65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0925239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1A9A6F4A-628E-4A32-81CF-FE19A683E87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92583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17.2. 2022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1C1E252-7505-49CF-963F-853CC8FAC6B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75743" y="6110928"/>
            <a:ext cx="501366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* </a:t>
            </a:r>
            <a:r>
              <a:rPr lang="cs-CZ" sz="1100" dirty="0">
                <a:solidFill>
                  <a:srgbClr val="000000"/>
                </a:solidFill>
              </a:rPr>
              <a:t>U Dánska, Portugalska a Malty nejsou dostupné údaje o počtu provedených testů za 6.</a:t>
            </a:r>
            <a:r>
              <a:rPr lang="cs-CZ" sz="1100" dirty="0"/>
              <a:t> t</a:t>
            </a:r>
            <a:r>
              <a:rPr lang="cs-CZ" sz="1100" dirty="0">
                <a:solidFill>
                  <a:srgbClr val="000000"/>
                </a:solidFill>
              </a:rPr>
              <a:t>ýden </a:t>
            </a:r>
            <a:r>
              <a:rPr lang="cs-CZ" sz="1100" dirty="0"/>
              <a:t>roku 2022.</a:t>
            </a:r>
          </a:p>
        </p:txBody>
      </p:sp>
    </p:spTree>
    <p:extLst>
      <p:ext uri="{BB962C8B-B14F-4D97-AF65-F5344CB8AC3E}">
        <p14:creationId xmlns:p14="http://schemas.microsoft.com/office/powerpoint/2010/main" val="34914960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21816</TotalTime>
  <Words>3351</Words>
  <Application>Microsoft Office PowerPoint</Application>
  <PresentationFormat>Širokoúhlá obrazovka</PresentationFormat>
  <Paragraphs>1041</Paragraphs>
  <Slides>29</Slides>
  <Notes>22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29</vt:i4>
      </vt:variant>
    </vt:vector>
  </HeadingPairs>
  <TitlesOfParts>
    <vt:vector size="33" baseType="lpstr">
      <vt:lpstr>Arial</vt:lpstr>
      <vt:lpstr>Arial (Základní text)</vt:lpstr>
      <vt:lpstr>Calibri</vt:lpstr>
      <vt:lpstr>Motiv Office</vt:lpstr>
      <vt:lpstr>Hodnocení pandemie COVID-19  v mezinárodním srovnání </vt:lpstr>
      <vt:lpstr>Seznam zkratek zemí EU, EHP a Velké Británie</vt:lpstr>
      <vt:lpstr>Hodnocení pandemie COVID-19  v mezinárodním srovnání </vt:lpstr>
      <vt:lpstr>Počet potvrzených případů onemocnění v zemích EU, EHP  a Velké Británii (14denní kumulativní počet)</vt:lpstr>
      <vt:lpstr>Vývoj 14denního kumulativního počtu potvrzených případů onemocnění ve vybraných evropských zemích</vt:lpstr>
      <vt:lpstr>Vývoj 7denního kumulativního počtu potvrzených případů onemocnění ve vybraných evropských zemích</vt:lpstr>
      <vt:lpstr>Procentuální změna týdenního kumulativního počtu potvrzených případů</vt:lpstr>
      <vt:lpstr>Hodnocení pandemie COVID-19  v mezinárodním srovnání </vt:lpstr>
      <vt:lpstr>Počet provedených testů v zemích EU a EHP  od 10.1. 2022 do 13.2. 2022</vt:lpstr>
      <vt:lpstr>14denní podíl potvrzených případů z počtu provedených testů v zemích EU a EHP</vt:lpstr>
      <vt:lpstr>7denní podíl potvrzených případů z počtu provedených testů v zemích EU a EHP</vt:lpstr>
      <vt:lpstr>Vývoj podílu potvrzených případů z počtu provedených testů ve vybraných evropských zemích</vt:lpstr>
      <vt:lpstr>Hodnocení pandemie COVID-19  v mezinárodním srovnání </vt:lpstr>
      <vt:lpstr>Úmrtí – srovnání zemí řazeno dle kumulativního počtu na 100tis. </vt:lpstr>
      <vt:lpstr>Úmrtí – srovnání zemí řazeno dle 7denních počtů na 100tis.</vt:lpstr>
      <vt:lpstr>Úmrtí – srovnání zemí řazeno dle 14denních počtů na 100tis</vt:lpstr>
      <vt:lpstr>Vývoj 14denního kumulativního počtu úmrtí  ve vybraných evropských zemích</vt:lpstr>
      <vt:lpstr>Vývoj 7denního kumulativního počtu úmrtí ve vybraných evropských zemích</vt:lpstr>
      <vt:lpstr>Poměr úmrtí a potvrzených případů onemocnění v zemích EU, EHP a Velké Británii od začátku epidemie</vt:lpstr>
      <vt:lpstr>Hodnocení pandemie COVID-19  v mezinárodním srovnání </vt:lpstr>
      <vt:lpstr>Podíl osob s vykázaným očkováním 1. dávkou v zemích EU a EHP</vt:lpstr>
      <vt:lpstr>Podíl osob s vykázaným očkováním 1. dávkou v zemích EU a EHP</vt:lpstr>
      <vt:lpstr>Podíl osob s vykázaným úplným očkováním v zemích EU a EHP</vt:lpstr>
      <vt:lpstr>Podíl osob s vykázaným úplným očkováním v zemích EU a EHP</vt:lpstr>
      <vt:lpstr>Podíl osob s vykázaným očkováním posilující dávkou v zemích EU a EHP</vt:lpstr>
      <vt:lpstr>Podíl osob s vykázaným očkováním posilující dávkou v zemích EU a EHP</vt:lpstr>
      <vt:lpstr>Srovnání podílů osob s vykázaným úplným očkováním a osob s vykázaným očkováním posilující dávkou v zemích EU a EHP</vt:lpstr>
      <vt:lpstr>Hodnocení pandemie COVID-19  v mezinárodním srovnání </vt:lpstr>
      <vt:lpstr>Vývoj týdenního počtu nových hospitalizací ve vybraných evropských zemích a v JA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ývoj epidemie COVID-19 v ČR  Souhrn hlavních statistických ukazatelů dle regionů</dc:title>
  <dc:creator>Nováková Tereza Mgr.</dc:creator>
  <cp:lastModifiedBy>Kouřil Jan Mgr.</cp:lastModifiedBy>
  <cp:revision>1220</cp:revision>
  <dcterms:created xsi:type="dcterms:W3CDTF">2020-11-14T13:18:43Z</dcterms:created>
  <dcterms:modified xsi:type="dcterms:W3CDTF">2022-02-18T11:37:39Z</dcterms:modified>
</cp:coreProperties>
</file>